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9" r:id="rId5"/>
    <p:sldId id="2147482983" r:id="rId6"/>
    <p:sldId id="2147483081" r:id="rId7"/>
    <p:sldId id="2147483070" r:id="rId8"/>
    <p:sldId id="2147483572" r:id="rId9"/>
    <p:sldId id="2147483087" r:id="rId10"/>
    <p:sldId id="2147482987" r:id="rId11"/>
    <p:sldId id="2147483085" r:id="rId12"/>
    <p:sldId id="2147483090" r:id="rId13"/>
    <p:sldId id="2147483091" r:id="rId14"/>
    <p:sldId id="2147483092" r:id="rId15"/>
    <p:sldId id="2147483102" r:id="rId16"/>
    <p:sldId id="2147483073" r:id="rId17"/>
    <p:sldId id="2147483083" r:id="rId18"/>
    <p:sldId id="311" r:id="rId19"/>
  </p:sldIdLst>
  <p:sldSz cx="12192000" cy="6858000"/>
  <p:notesSz cx="6797675" cy="9872663"/>
  <p:custDataLst>
    <p:tags r:id="rId2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59"/>
            <p14:sldId id="2147482983"/>
            <p14:sldId id="2147483081"/>
            <p14:sldId id="2147483070"/>
            <p14:sldId id="2147483572"/>
            <p14:sldId id="2147483087"/>
            <p14:sldId id="2147482987"/>
            <p14:sldId id="2147483085"/>
            <p14:sldId id="2147483090"/>
            <p14:sldId id="2147483091"/>
            <p14:sldId id="2147483092"/>
            <p14:sldId id="2147483102"/>
            <p14:sldId id="2147483073"/>
            <p14:sldId id="2147483083"/>
            <p14:sldId id="3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56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0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C0A8B"/>
    <a:srgbClr val="B3BBC5"/>
    <a:srgbClr val="7A0000"/>
    <a:srgbClr val="FFFFAF"/>
    <a:srgbClr val="8997A4"/>
    <a:srgbClr val="7C878E"/>
    <a:srgbClr val="979797"/>
    <a:srgbClr val="4B4F54"/>
    <a:srgbClr val="606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492" autoAdjust="0"/>
  </p:normalViewPr>
  <p:slideViewPr>
    <p:cSldViewPr snapToGrid="0">
      <p:cViewPr varScale="1">
        <p:scale>
          <a:sx n="80" d="100"/>
          <a:sy n="80" d="100"/>
        </p:scale>
        <p:origin x="738" y="300"/>
      </p:cViewPr>
      <p:guideLst>
        <p:guide orient="horz" pos="2856"/>
        <p:guide pos="3840"/>
        <p:guide orient="horz" pos="201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C7C37F2-102A-E70E-C239-6D6132998F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44137C-9761-048E-EDD8-C704524678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7AD44-A77C-4C18-B811-7E387DA9CA05}" type="datetimeFigureOut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3A40C3-4AD2-3212-2763-B2788D55C6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9F119-B49B-DD2D-0296-BD1BEE7C12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C97A39-3B24-4F84-8C61-91B065FC559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4487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t>1/15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Klicken Sie hier, um die Master-Textstile zu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E4013-AFE2-4F53-970C-A43B4C2B4B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D49E5D-C6DC-3987-F1AF-7BDA5A3157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9E31C4-55D3-5D4B-9B39-4C3A09EAA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04FEB5-F543-DA3E-2711-92BA3A2FB8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4255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2EFC7-7D89-86A2-5735-8CADF0658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C18205-0AFB-344E-A333-F7B0B3E773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CC73D6-553D-F047-1E98-2F689120DA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7D559-B0D0-7F04-CD0B-9533C8520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9077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0277-EB18-FBBF-3258-829F3A55A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1CEA2-2E85-8091-7703-EF6198D21A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FC235-F0C1-E43E-980D-DDA3B43AE1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85518-659B-2BA4-DE47-F6CBE2A84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517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5D165-2159-694F-B2DF-B94AB9017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E05CB1-4338-ABAA-6509-51862EBB78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76A771-F94E-109E-1863-F7799FF76E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256D6F-506C-89C2-FB69-6066E33EFE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114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02118-D5AB-861F-1F5F-5BD872DE4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59C57D-F8DC-FC92-9530-EC2B1956AB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469288-7A37-9882-E5FD-46DA920D9C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550E90-985E-DBD2-5576-734B209F15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B7132792-EEB3-4258-9715-9B08C17B4345}" type="slidenum">
              <a:rPr/>
              <a:t>15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249065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54E2A-61B8-A425-702F-C0C054F34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6E5049-7323-1DDC-0A44-A52D365100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5881B-F87B-8EC8-84D8-F2AE82F8A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EF6FEC-8230-DA8B-7813-8655DBFD0D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581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FECD38-A526-807E-C748-4E18BB139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682830-E604-E0A2-DC24-06F2EB9737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9D7E9F-31B7-8760-EE5F-D7DD1F193B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CC445A-7E13-4B41-EEB3-1245460361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894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42213-9FFF-BC99-F8F6-D572A55FF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208B77-977B-C08B-FB23-7D7A47F146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003E7-C7AF-64AE-5BAA-045709E62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4AD6-4782-20C5-A6F4-0BF7B852D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9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4FCCC-259B-39FA-B63C-99A28A55A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86594-7A25-2DCB-BD11-3A99AED013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9ABA23-D11A-53F8-8D93-5F3102F725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1EB9E-3486-2A02-6B87-BF11B12D43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9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233C2-77FD-4B13-2FB9-7D494952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BB4D8-AF2F-F8C9-25A1-0FA6A64826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36A74-157E-B4F3-FD38-F64D9A928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5E2F46-14D5-ED4E-384B-5DAB139352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82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4B0F5B59-EE06-436A-858A-CCDD6FBB175C}" type="datetime1">
              <a:rPr lang="en-US" smtClean="0"/>
              <a:t>1/1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EBA8770B-4A02-4B68-BD74-C99827BB6EFA}" type="datetime1">
              <a:rPr lang="en-US" smtClean="0"/>
              <a:t>1/1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33E96EE0-0E9F-4078-BE71-5FF16A140549}" type="datetime1">
              <a:rPr lang="en-US" smtClean="0"/>
              <a:t>1/15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06DD6EA-A2CF-4D67-9510-56628C23D9F7}" type="datetime1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E241589-4F53-445D-981C-6C95414EE8DB}" type="datetime1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04BAA50-7E29-43A1-8A07-2DCBB4900148}" type="datetime1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339EDC5-C2F6-4250-8049-0213A0C43A52}" type="datetime1">
              <a:rPr lang="en-US" smtClean="0"/>
              <a:t>1/1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78225EA-88EB-4F56-A70C-5D5DB2917551}" type="datetime1">
              <a:rPr lang="en-US" smtClean="0"/>
              <a:t>1/15/2026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7ACAEB0D-2036-45C7-A59F-DDE428EC325F}" type="datetime1">
              <a:rPr lang="en-US" smtClean="0"/>
              <a:t>1/15/2026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9D1F6-326C-46F7-954F-7CC15E75FFBC}" type="datetime1">
              <a:rPr lang="en-US" smtClean="0"/>
              <a:t>1/15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5203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760C5F6F-0ACF-41D5-9FB0-CEB4A45A0FAA}" type="datetime1">
              <a:rPr lang="en-US" smtClean="0"/>
              <a:t>1/15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ECDCE3-C70A-438C-B081-BFDC1020B508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1/15/202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COMPANY 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79426" y="6452124"/>
            <a:ext cx="270170" cy="307777"/>
          </a:xfrm>
        </p:spPr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Page </a:t>
            </a:r>
            <a:fld id="{D1CE7045-5CDA-4635-8EEB-5A0FFD577EE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Nr.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488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EF4660B-6E72-3E47-185A-BA477829B17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Picture 6" descr="Text, logo&#10;&#10;Description automatically generated">
            <a:extLst>
              <a:ext uri="{FF2B5EF4-FFF2-40B4-BE49-F238E27FC236}">
                <a16:creationId xmlns:a16="http://schemas.microsoft.com/office/drawing/2014/main" id="{BEA4AD1F-8FF5-D34F-F60E-1039EFBC9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56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B04FEF9F-2738-4C46-8C71-EE6EA6A9E99C}" type="datetime1">
              <a:rPr lang="en-US" smtClean="0"/>
              <a:t>1/1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90FCD31F-6A86-4C11-BF16-B8792D800B16}" type="datetime1">
              <a:rPr lang="en-US" smtClean="0"/>
              <a:t>1/15/2026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96BBC3-877B-4D40-86BE-48FBDA2F7F31}" type="datetime1">
              <a:rPr lang="en-US" smtClean="0"/>
              <a:t>1/15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B16F02B-D20D-4CFA-B809-B02AE93C1688}" type="datetime1">
              <a:rPr lang="en-US" smtClean="0"/>
              <a:t>1/1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000C27-6A5F-4399-BA75-A4ADF25ECA62}" type="datetime1">
              <a:rPr lang="en-US" smtClean="0"/>
              <a:t>1/15/202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0BDBC2B-46FD-4911-BEDD-5A255393B724}" type="datetime1">
              <a:rPr lang="en-US" smtClean="0"/>
              <a:t>1/1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ECD4BF9-F2F2-48B5-B183-1C92F9EF52FD}" type="datetime1">
              <a:rPr lang="en-US" smtClean="0"/>
              <a:t>1/15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243874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Klicken Sie hier, um die Überschrift zu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cken Sie hier, um die Master-Textstile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9597C8B-34B9-430B-B93F-8855F7CC53A8}" type="datetime1">
              <a:rPr lang="en-US" smtClean="0"/>
              <a:t>1/15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VERTRAULIC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t>‹Nr.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  <p:sldLayoutId id="2147483739" r:id="rId21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v="urn:schemas-microsoft-com:vml" xmlns:a16="http://schemas.microsoft.com/office/drawing/2014/main" xmlns:a14="http://schemas.microsoft.com/office/drawing/2010/main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6" Type="http://schemas.openxmlformats.org/officeDocument/2006/relationships/image" Target="../media/image16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image" Target="../media/image2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28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blue machine with wheels and smoke coming out of it&#10;&#10;Description automatically generated">
            <a:extLst>
              <a:ext uri="{FF2B5EF4-FFF2-40B4-BE49-F238E27FC236}">
                <a16:creationId xmlns:a16="http://schemas.microsoft.com/office/drawing/2014/main" id="{45A7884E-A657-1EA4-0294-113C8CEA4C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 xmlns:a14="http://schemas.microsoft.com/office/drawing/2010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itle 3">
            <a:extLst>
              <a:ext uri="{FF2B5EF4-FFF2-40B4-BE49-F238E27FC236}">
                <a16:creationId xmlns:a16="http://schemas.microsoft.com/office/drawing/2014/main" id="{AC05CF4E-24FF-57DA-3526-13554FC3F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/>
          <a:p>
            <a:pPr rtl="0">
              <a:lnSpc>
                <a:spcPct val="120000"/>
              </a:lnSpc>
              <a:spcAft>
                <a:spcPts val="0"/>
              </a:spcAft>
            </a:pPr>
            <a:r>
              <a:rPr lang="de-DE" sz="2000" b="0" i="0" u="none" baseline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abelloser Nass-Trockensauger</a:t>
            </a:r>
            <a:br>
              <a:rPr lang="it" dirty="0">
                <a:solidFill>
                  <a:schemeClr val="bg1"/>
                </a:solidFill>
              </a:rPr>
            </a:br>
            <a:r>
              <a:rPr lang="vi-VN" i="0" u="none" baseline="0" dirty="0">
                <a:solidFill>
                  <a:schemeClr val="bg1"/>
                </a:solidFill>
              </a:rPr>
              <a:t>Nilfisk AERO</a:t>
            </a:r>
            <a:r>
              <a:rPr lang="de-DE" i="0" u="none" baseline="0" dirty="0">
                <a:solidFill>
                  <a:schemeClr val="bg1"/>
                </a:solidFill>
              </a:rPr>
              <a:t> BATTERY</a:t>
            </a:r>
            <a:endParaRPr lang="it" i="0" u="none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210" y="0"/>
            <a:ext cx="5634789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GB" noProof="0">
                <a:solidFill>
                  <a:schemeClr val="bg2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5B1593-8FEA-87E7-2576-E33EA80097A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230" y="1726184"/>
            <a:ext cx="3762286" cy="3029714"/>
          </a:xfrm>
          <a:prstGeom prst="rect">
            <a:avLst/>
          </a:prstGeom>
        </p:spPr>
      </p:pic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587C109D-FE63-ADD9-D1D0-747CE8CAC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274771"/>
              </p:ext>
            </p:extLst>
          </p:nvPr>
        </p:nvGraphicFramePr>
        <p:xfrm>
          <a:off x="475521" y="1412875"/>
          <a:ext cx="5515703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849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  <a:gridCol w="1205618">
                  <a:extLst>
                    <a:ext uri="{9D8B030D-6E8A-4147-A177-3AD203B41FA5}">
                      <a16:colId xmlns:a16="http://schemas.microsoft.com/office/drawing/2014/main" val="348730624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b="0" noProof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pezifikationen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Kampf 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BP6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BP10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Leistung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 V Li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 dirty="0">
                          <a:solidFill>
                            <a:schemeClr val="tx1"/>
                          </a:solidFill>
                          <a:latin typeface="+mn-lt"/>
                        </a:rPr>
                        <a:t>Batteriekapazität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,8 Ah</a:t>
                      </a:r>
                      <a:b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0 Wh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GB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,0 Ah</a:t>
                      </a:r>
                      <a:b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 Wh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GB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,0 Ah</a:t>
                      </a:r>
                      <a:b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10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0 Wh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GB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Gewicht (kg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Abmessungen LxBxH (mm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0 x 160 x 7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 x 130 x 7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3 x 130 x 7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Ladegerät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Schnellladegerät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hnellladegerät </a:t>
                      </a:r>
                      <a:b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hnellladegerät </a:t>
                      </a:r>
                      <a:b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BC21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</a:tbl>
          </a:graphicData>
        </a:graphic>
      </p:graphicFrame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t>10</a:t>
            </a:fld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1041" y="852174"/>
            <a:ext cx="7864216" cy="37645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1500" noProof="0" dirty="0" err="1"/>
              <a:t>Technische</a:t>
            </a:r>
            <a:r>
              <a:rPr lang="en-GB" sz="1500" noProof="0" dirty="0"/>
              <a:t> Daten der </a:t>
            </a:r>
            <a:r>
              <a:rPr lang="en-GB" sz="1500" noProof="0" dirty="0">
                <a:ea typeface="Roboto Light"/>
              </a:rPr>
              <a:t>NBP-Serie </a:t>
            </a:r>
            <a:r>
              <a:rPr lang="en-GB" sz="1500" noProof="0" dirty="0" err="1">
                <a:ea typeface="Roboto Light"/>
              </a:rPr>
              <a:t>im</a:t>
            </a:r>
            <a:r>
              <a:rPr lang="en-GB" sz="1500" noProof="0" dirty="0">
                <a:ea typeface="Roboto Light"/>
              </a:rPr>
              <a:t> </a:t>
            </a:r>
            <a:r>
              <a:rPr lang="en-GB" sz="1500" noProof="0" dirty="0" err="1">
                <a:ea typeface="Roboto Light"/>
              </a:rPr>
              <a:t>Vergleich</a:t>
            </a:r>
            <a:r>
              <a:rPr lang="en-GB" sz="1500" noProof="0" dirty="0">
                <a:ea typeface="Roboto Light"/>
              </a:rPr>
              <a:t> </a:t>
            </a:r>
            <a:r>
              <a:rPr lang="en-GB" sz="1500" noProof="0" dirty="0" err="1">
                <a:ea typeface="Roboto Light"/>
              </a:rPr>
              <a:t>zum</a:t>
            </a:r>
            <a:r>
              <a:rPr lang="en-GB" sz="1500" noProof="0" dirty="0">
                <a:ea typeface="Roboto Light"/>
              </a:rPr>
              <a:t> </a:t>
            </a:r>
            <a:r>
              <a:rPr lang="en-GB" sz="1500" noProof="0" dirty="0" err="1">
                <a:ea typeface="Roboto Light"/>
              </a:rPr>
              <a:t>Vorgängermodell</a:t>
            </a:r>
            <a:endParaRPr lang="en-GB" sz="1500" noProof="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407" y="408351"/>
            <a:ext cx="7862850" cy="388013"/>
          </a:xfrm>
        </p:spPr>
        <p:txBody>
          <a:bodyPr vert="horz"/>
          <a:lstStyle/>
          <a:p>
            <a:r>
              <a:rPr lang="en-GB" noProof="0" dirty="0"/>
              <a:t>Neue </a:t>
            </a:r>
            <a:r>
              <a:rPr lang="en-GB" noProof="0" dirty="0" err="1"/>
              <a:t>Batterieplattform</a:t>
            </a:r>
            <a:endParaRPr lang="en-GB" noProof="0" dirty="0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>
            <a:cxnSpLocks/>
          </p:cNvCxnSpPr>
          <p:nvPr/>
        </p:nvCxnSpPr>
        <p:spPr>
          <a:xfrm flipV="1">
            <a:off x="9247256" y="3950173"/>
            <a:ext cx="1110112" cy="476903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00269" y="2699223"/>
            <a:ext cx="0" cy="971549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191232" y="3251673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882261" y="4172649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130 mm </a:t>
            </a: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021641" y="3925915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183 mm </a:t>
            </a: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500343" y="3014043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73 m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203212" y="5814479"/>
            <a:ext cx="5988787" cy="468846"/>
          </a:xfrm>
          <a:prstGeom prst="rect">
            <a:avLst/>
          </a:prstGeom>
          <a:noFill/>
        </p:spPr>
        <p:txBody>
          <a:bodyPr wrap="square" lIns="0" tIns="0" rIns="0" bIns="182880" anchor="b" anchorCtr="0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GB" sz="800" noProof="0" dirty="0">
                <a:solidFill>
                  <a:schemeClr val="tx2"/>
                </a:solidFill>
                <a:ea typeface="Roboto Light"/>
                <a:cs typeface="Roboto Light"/>
              </a:rPr>
              <a:t>NBP60-Grafiken – gleiche Grundfläche (Größe) und Schnittstelle wie NBP100</a:t>
            </a:r>
            <a:br>
              <a:rPr lang="en-GB" sz="800" noProof="0" dirty="0">
                <a:solidFill>
                  <a:schemeClr val="tx2"/>
                </a:solidFill>
                <a:ea typeface="Roboto Light"/>
                <a:cs typeface="Roboto Light"/>
              </a:rPr>
            </a:br>
            <a:r>
              <a:rPr lang="en-GB" sz="800" noProof="0" dirty="0">
                <a:solidFill>
                  <a:schemeClr val="tx2"/>
                </a:solidFill>
                <a:ea typeface="Roboto Light"/>
                <a:cs typeface="Roboto Light"/>
              </a:rPr>
              <a:t>– Weitere Details in der spezifischen NBP-Präsent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65B3BA-4F0C-D510-1BA4-91B3BFC54D03}"/>
              </a:ext>
            </a:extLst>
          </p:cNvPr>
          <p:cNvSpPr txBox="1"/>
          <p:nvPr/>
        </p:nvSpPr>
        <p:spPr>
          <a:xfrm>
            <a:off x="479425" y="3670772"/>
            <a:ext cx="5498623" cy="1388585"/>
          </a:xfrm>
          <a:prstGeom prst="rect">
            <a:avLst/>
          </a:prstGeom>
          <a:noFill/>
        </p:spPr>
        <p:txBody>
          <a:bodyPr wrap="square" lIns="0" tIns="91440" rIns="0" bIns="0">
            <a:spAutoFit/>
          </a:bodyPr>
          <a:lstStyle/>
          <a:p>
            <a:pPr marL="201168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noProof="0" dirty="0" err="1">
                <a:ea typeface="Roboto Light"/>
                <a:cs typeface="Roboto Light"/>
              </a:rPr>
              <a:t>Geringeres</a:t>
            </a:r>
            <a:r>
              <a:rPr lang="en-GB" sz="1200" noProof="0" dirty="0">
                <a:ea typeface="Roboto Light"/>
                <a:cs typeface="Roboto Light"/>
              </a:rPr>
              <a:t> </a:t>
            </a:r>
            <a:r>
              <a:rPr lang="en-GB" sz="1200" noProof="0" dirty="0" err="1">
                <a:ea typeface="Roboto Light"/>
                <a:cs typeface="Roboto Light"/>
              </a:rPr>
              <a:t>Gewicht</a:t>
            </a:r>
            <a:endParaRPr lang="en-GB" sz="1200" noProof="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noProof="0" dirty="0" err="1">
                <a:ea typeface="Roboto Light"/>
                <a:cs typeface="Roboto Light"/>
              </a:rPr>
              <a:t>Kompakteres</a:t>
            </a:r>
            <a:r>
              <a:rPr lang="en-GB" sz="1200" noProof="0" dirty="0">
                <a:ea typeface="Roboto Light"/>
                <a:cs typeface="Roboto Light"/>
              </a:rPr>
              <a:t> und </a:t>
            </a:r>
            <a:r>
              <a:rPr lang="en-GB" sz="1200" noProof="0" dirty="0" err="1">
                <a:ea typeface="Roboto Light"/>
                <a:cs typeface="Roboto Light"/>
              </a:rPr>
              <a:t>skalierbares</a:t>
            </a:r>
            <a:r>
              <a:rPr lang="en-GB" sz="1200" noProof="0" dirty="0">
                <a:ea typeface="Roboto Light"/>
                <a:cs typeface="Roboto Light"/>
              </a:rPr>
              <a:t> Design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noProof="0" dirty="0" err="1">
                <a:ea typeface="Roboto Light"/>
                <a:cs typeface="Roboto Light"/>
              </a:rPr>
              <a:t>Verbesserte</a:t>
            </a:r>
            <a:r>
              <a:rPr lang="en-GB" sz="1200" noProof="0" dirty="0">
                <a:ea typeface="Roboto Light"/>
                <a:cs typeface="Roboto Light"/>
              </a:rPr>
              <a:t> </a:t>
            </a:r>
            <a:r>
              <a:rPr lang="en-GB" sz="1200" noProof="0" dirty="0" err="1">
                <a:ea typeface="Roboto Light"/>
                <a:cs typeface="Roboto Light"/>
              </a:rPr>
              <a:t>Benutzererfahrung</a:t>
            </a:r>
            <a:r>
              <a:rPr lang="en-GB" sz="1200" noProof="0" dirty="0">
                <a:ea typeface="Roboto Light"/>
                <a:cs typeface="Roboto Light"/>
              </a:rPr>
              <a:t> und </a:t>
            </a:r>
            <a:r>
              <a:rPr lang="en-GB" sz="1200" noProof="0" dirty="0" err="1">
                <a:ea typeface="Roboto Light"/>
                <a:cs typeface="Roboto Light"/>
              </a:rPr>
              <a:t>Benutzeroberfläche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  </a:t>
            </a:r>
            <a:r>
              <a:rPr lang="en-GB" sz="1200" noProof="0" dirty="0">
                <a:ea typeface="Roboto Light"/>
                <a:cs typeface="Roboto Light"/>
              </a:rPr>
              <a:t>Griff an der </a:t>
            </a:r>
            <a:r>
              <a:rPr lang="en-GB" sz="1200" noProof="0" dirty="0" err="1">
                <a:ea typeface="Roboto Light"/>
                <a:cs typeface="Roboto Light"/>
              </a:rPr>
              <a:t>Oberseite</a:t>
            </a:r>
            <a:r>
              <a:rPr lang="en-GB" sz="1200" noProof="0" dirty="0">
                <a:ea typeface="Roboto Light"/>
                <a:cs typeface="Roboto Light"/>
              </a:rPr>
              <a:t> und </a:t>
            </a:r>
            <a:r>
              <a:rPr lang="en-GB" sz="1200" noProof="0" dirty="0" err="1">
                <a:ea typeface="Roboto Light"/>
                <a:cs typeface="Roboto Light"/>
              </a:rPr>
              <a:t>farbiger</a:t>
            </a:r>
            <a:r>
              <a:rPr lang="en-GB" sz="1200" noProof="0" dirty="0">
                <a:ea typeface="Roboto Light"/>
                <a:cs typeface="Roboto Light"/>
              </a:rPr>
              <a:t> </a:t>
            </a:r>
            <a:r>
              <a:rPr lang="en-GB" sz="1200" noProof="0" dirty="0" err="1">
                <a:ea typeface="Roboto Light"/>
                <a:cs typeface="Roboto Light"/>
              </a:rPr>
              <a:t>Auslöseknopf</a:t>
            </a:r>
            <a:endParaRPr lang="en-GB" sz="1200" noProof="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noProof="0" dirty="0" err="1">
                <a:ea typeface="Roboto Light"/>
                <a:cs typeface="Roboto Light"/>
              </a:rPr>
              <a:t>Verbesserte</a:t>
            </a:r>
            <a:r>
              <a:rPr lang="en-GB" sz="1200" noProof="0" dirty="0">
                <a:ea typeface="Roboto Light"/>
                <a:cs typeface="Roboto Light"/>
              </a:rPr>
              <a:t> </a:t>
            </a:r>
            <a:r>
              <a:rPr lang="en-GB" sz="1200" noProof="0" dirty="0" err="1">
                <a:ea typeface="Roboto Light"/>
                <a:cs typeface="Roboto Light"/>
              </a:rPr>
              <a:t>Positionierung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  </a:t>
            </a: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Skalierbarkeit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; </a:t>
            </a: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unterschiedliche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 </a:t>
            </a: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Leistungs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-/</a:t>
            </a: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Preisstufen</a:t>
            </a:r>
            <a:endParaRPr lang="en-GB" sz="1200" noProof="0" dirty="0">
              <a:ea typeface="Roboto Light"/>
              <a:cs typeface="Roboto Light"/>
              <a:sym typeface="Wingdings" panose="05000000000000000000" pitchFamily="2" charset="2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Benachrichtigungs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-/Warn-LED an der Batterie (</a:t>
            </a:r>
            <a:r>
              <a:rPr lang="en-GB" sz="1200" noProof="0" dirty="0" err="1">
                <a:ea typeface="Roboto Light"/>
                <a:cs typeface="Roboto Light"/>
                <a:sym typeface="Wingdings" panose="05000000000000000000" pitchFamily="2" charset="2"/>
              </a:rPr>
              <a:t>Dreieck</a:t>
            </a:r>
            <a:r>
              <a:rPr lang="en-GB" sz="1200" noProof="0" dirty="0">
                <a:ea typeface="Roboto Light"/>
                <a:cs typeface="Roboto Light"/>
                <a:sym typeface="Wingdings" panose="05000000000000000000" pitchFamily="2" charset="2"/>
              </a:rPr>
              <a:t>)</a:t>
            </a:r>
            <a:endParaRPr lang="en-GB" sz="1200" noProof="0" dirty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18164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 xmlns:v="urn:schemas-microsoft-com:vml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D67AD-D593-CC3F-0869-BC025BA7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6B442-E57C-417D-8B9B-24974A7E61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36894" y="0"/>
            <a:ext cx="575510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GB" noProof="0" dirty="0"/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A33E8A2-DF37-BB77-4B5D-0FC36AED36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230" y="1802384"/>
            <a:ext cx="3871492" cy="2684952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7BD3E55-ED3C-F29A-97C8-50EC633D6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7BD3E55-ED3C-F29A-97C8-50EC633D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17F1F7B-F349-3D9D-692E-C93A6FDABB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GB" noProof="0" smtClean="0"/>
              <a:t>11</a:t>
            </a:fld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C9FAA4-CFD2-101D-1E70-A01C40B0D7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226037" cy="37645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 dirty="0"/>
              <a:t>Technische Daten des </a:t>
            </a:r>
            <a:r>
              <a:rPr lang="en-GB" noProof="0" dirty="0">
                <a:ea typeface="Roboto Light"/>
              </a:rPr>
              <a:t>neuen Ladegeräts </a:t>
            </a:r>
            <a:r>
              <a:rPr lang="en-GB" dirty="0">
                <a:ea typeface="Roboto Light"/>
              </a:rPr>
              <a:t>– </a:t>
            </a:r>
            <a:r>
              <a:rPr lang="en-GB" noProof="0" dirty="0">
                <a:ea typeface="Roboto Light"/>
              </a:rPr>
              <a:t>NBC215</a:t>
            </a:r>
            <a:endParaRPr lang="en-GB" noProof="0" dirty="0"/>
          </a:p>
        </p:txBody>
      </p:sp>
      <p:cxnSp>
        <p:nvCxnSpPr>
          <p:cNvPr id="4" name="Google Shape;117;p28">
            <a:extLst>
              <a:ext uri="{FF2B5EF4-FFF2-40B4-BE49-F238E27FC236}">
                <a16:creationId xmlns:a16="http://schemas.microsoft.com/office/drawing/2014/main" id="{FBF27F0E-69B9-C58C-EF8F-878413516E3C}"/>
              </a:ext>
            </a:extLst>
          </p:cNvPr>
          <p:cNvCxnSpPr>
            <a:cxnSpLocks/>
          </p:cNvCxnSpPr>
          <p:nvPr/>
        </p:nvCxnSpPr>
        <p:spPr>
          <a:xfrm flipV="1">
            <a:off x="9108009" y="3848320"/>
            <a:ext cx="1446865" cy="60362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7" name="Google Shape;118;p28">
            <a:extLst>
              <a:ext uri="{FF2B5EF4-FFF2-40B4-BE49-F238E27FC236}">
                <a16:creationId xmlns:a16="http://schemas.microsoft.com/office/drawing/2014/main" id="{BB9D0729-6DBF-2604-BD65-69BED5E700DA}"/>
              </a:ext>
            </a:extLst>
          </p:cNvPr>
          <p:cNvCxnSpPr>
            <a:cxnSpLocks/>
          </p:cNvCxnSpPr>
          <p:nvPr/>
        </p:nvCxnSpPr>
        <p:spPr>
          <a:xfrm>
            <a:off x="10646187" y="2696761"/>
            <a:ext cx="0" cy="85161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10" name="Google Shape;119;p28">
            <a:extLst>
              <a:ext uri="{FF2B5EF4-FFF2-40B4-BE49-F238E27FC236}">
                <a16:creationId xmlns:a16="http://schemas.microsoft.com/office/drawing/2014/main" id="{3714ED22-3DC2-3170-82A0-922E10C0DE86}"/>
              </a:ext>
            </a:extLst>
          </p:cNvPr>
          <p:cNvCxnSpPr>
            <a:cxnSpLocks/>
          </p:cNvCxnSpPr>
          <p:nvPr/>
        </p:nvCxnSpPr>
        <p:spPr>
          <a:xfrm>
            <a:off x="7012982" y="3311540"/>
            <a:ext cx="1406600" cy="107356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12" name="Google Shape;120;p28">
            <a:extLst>
              <a:ext uri="{FF2B5EF4-FFF2-40B4-BE49-F238E27FC236}">
                <a16:creationId xmlns:a16="http://schemas.microsoft.com/office/drawing/2014/main" id="{BF9212B0-DB00-8B88-EF39-8231CCC8CAAE}"/>
              </a:ext>
            </a:extLst>
          </p:cNvPr>
          <p:cNvSpPr/>
          <p:nvPr/>
        </p:nvSpPr>
        <p:spPr>
          <a:xfrm rot="21598889">
            <a:off x="9955492" y="4174498"/>
            <a:ext cx="914400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189 mm </a:t>
            </a:r>
          </a:p>
        </p:txBody>
      </p:sp>
      <p:sp>
        <p:nvSpPr>
          <p:cNvPr id="14" name="Google Shape;121;p28">
            <a:extLst>
              <a:ext uri="{FF2B5EF4-FFF2-40B4-BE49-F238E27FC236}">
                <a16:creationId xmlns:a16="http://schemas.microsoft.com/office/drawing/2014/main" id="{82874251-53AF-7CA6-A8B7-B40BC0B10C3A}"/>
              </a:ext>
            </a:extLst>
          </p:cNvPr>
          <p:cNvSpPr/>
          <p:nvPr/>
        </p:nvSpPr>
        <p:spPr>
          <a:xfrm>
            <a:off x="6871575" y="3922684"/>
            <a:ext cx="914400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211 mm </a:t>
            </a:r>
          </a:p>
        </p:txBody>
      </p:sp>
      <p:sp>
        <p:nvSpPr>
          <p:cNvPr id="21" name="Google Shape;122;p28">
            <a:extLst>
              <a:ext uri="{FF2B5EF4-FFF2-40B4-BE49-F238E27FC236}">
                <a16:creationId xmlns:a16="http://schemas.microsoft.com/office/drawing/2014/main" id="{3FD37C9A-4326-153A-B0E3-73B5241C50D9}"/>
              </a:ext>
            </a:extLst>
          </p:cNvPr>
          <p:cNvSpPr/>
          <p:nvPr/>
        </p:nvSpPr>
        <p:spPr>
          <a:xfrm rot="21598889">
            <a:off x="10646259" y="2953491"/>
            <a:ext cx="914400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>
                <a:ea typeface="Poppins"/>
                <a:cs typeface="Poppins"/>
                <a:sym typeface="Poppins"/>
              </a:rPr>
              <a:t>81 mm </a:t>
            </a:r>
          </a:p>
        </p:txBody>
      </p:sp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7533B533-94B8-A6B1-5BF0-D5C7C38E8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52566"/>
              </p:ext>
            </p:extLst>
          </p:nvPr>
        </p:nvGraphicFramePr>
        <p:xfrm>
          <a:off x="475521" y="1416050"/>
          <a:ext cx="5515704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2604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b="0" noProof="0" dirty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echnische Daten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BC215 36-V-Schnellladegerät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 dirty="0">
                          <a:solidFill>
                            <a:schemeClr val="tx1"/>
                          </a:solidFill>
                          <a:latin typeface="+mn-lt"/>
                        </a:rPr>
                        <a:t>Batterieplattform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-V-NBP-Serie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Ladestrom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x. 5 A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6328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Stromversorgung (V/Hz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–240 / 50–6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161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Ladezeit (ca. min) </a:t>
                      </a:r>
                      <a:r>
                        <a:rPr lang="en-GB" sz="1000" b="0" noProof="0">
                          <a:solidFill>
                            <a:schemeClr val="tx1"/>
                          </a:solidFill>
                          <a:latin typeface="+mn-lt"/>
                        </a:rPr>
                        <a:t>NBP60 </a:t>
                      </a:r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– 80 % / 90 % / 100 %</a:t>
                      </a:r>
                      <a:endParaRPr lang="en-GB" sz="10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5 / 65 /</a:t>
                      </a:r>
                      <a:r>
                        <a:rPr kumimoji="0" lang="en-DK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80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Ladezeit (ca. min) </a:t>
                      </a:r>
                      <a:r>
                        <a:rPr lang="en-GB" sz="10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BP100 </a:t>
                      </a:r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– 80 % / 90 % / 100 %</a:t>
                      </a:r>
                      <a:endParaRPr lang="en-GB" sz="10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 /</a:t>
                      </a:r>
                      <a:r>
                        <a:rPr kumimoji="0" lang="en-DK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00 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en-DK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30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Gewicht (kg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7751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GB" sz="1000" noProof="0">
                          <a:solidFill>
                            <a:schemeClr val="tx1"/>
                          </a:solidFill>
                          <a:latin typeface="+mn-lt"/>
                        </a:rPr>
                        <a:t>Abmessungen LxBxH (mm)</a:t>
                      </a:r>
                    </a:p>
                  </a:txBody>
                  <a:tcPr marL="4572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1 x 189 x 8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</a:tbl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66713960-CAF3-3B29-8254-19978BE933A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79425" y="493713"/>
            <a:ext cx="6222133" cy="388937"/>
          </a:xfrm>
        </p:spPr>
        <p:txBody>
          <a:bodyPr vert="horz"/>
          <a:lstStyle/>
          <a:p>
            <a:r>
              <a:rPr lang="en-GB" noProof="0" dirty="0"/>
              <a:t>Neue </a:t>
            </a:r>
            <a:r>
              <a:rPr lang="en-GB" noProof="0" dirty="0" err="1"/>
              <a:t>Batterieplattform</a:t>
            </a:r>
            <a:endParaRPr lang="en-GB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FE4D2D-95EB-A819-171A-B5947E4533F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137" y="3823407"/>
            <a:ext cx="3163428" cy="19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8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 xmlns:v="urn:schemas-microsoft-com:vml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15F78-FB12-3818-5BC9-C9C6EBF58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4715B4-8DBB-E360-AF13-E546E617D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4715B4-8DBB-E360-AF13-E546E617D9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53B6F8F0-19F7-02D1-2DE0-5667E6421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Daten</a:t>
            </a:r>
            <a:endParaRPr lang="da-DK" dirty="0">
              <a:solidFill>
                <a:schemeClr val="tx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4C957B-6E08-F601-8721-84892CD1AB5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1317E8CE-BC0A-BCE4-DB4A-358DDCB6F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291659"/>
              </p:ext>
            </p:extLst>
          </p:nvPr>
        </p:nvGraphicFramePr>
        <p:xfrm>
          <a:off x="475521" y="1465443"/>
          <a:ext cx="9329208" cy="4695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9995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1565479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2084917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1903942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</a:tblGrid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echnische Daten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Beschreibung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 Hinweis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0L PC BP36V EU-Version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W0M PCBP 36V EU-Version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1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Spannung/Frequenz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V/Hz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chutzklasse / IP-Schutz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 / IPX4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 / IPX4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Nennleistung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W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Luftstrom (max., gemessen an der Turbine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/s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  <a:endParaRPr lang="en-DK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Luftstrom (max., gemessen an der Turbine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/min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Luftstrom (max., gemessen an der Turbine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m³/h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Luftstrom (max., gemessen an der Turbine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CFM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</a:t>
                      </a:r>
                      <a:endParaRPr lang="en-DK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Unterdruck (max.)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kPa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5</a:t>
                      </a:r>
                      <a:endParaRPr lang="en-DK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,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Vakuum (max.)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hPa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  <a:endParaRPr lang="en-DK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Vakuum (max.)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in h</a:t>
                      </a:r>
                      <a:r>
                        <a:rPr lang="de-DE" sz="800" u="none" strike="noStrike" baseline="-25000">
                          <a:effectLst/>
                          <a:latin typeface="+mn-lt"/>
                        </a:rPr>
                        <a:t>2</a:t>
                      </a:r>
                      <a:r>
                        <a:rPr lang="de-DE" sz="800" u="none" strike="noStrike">
                          <a:effectLst/>
                          <a:latin typeface="+mn-lt"/>
                        </a:rPr>
                        <a:t> 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augleistung 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W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Schalldruckpegel bei Nennleistung (LpA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dB(A)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Arbeitsgeräuschpegel @3m bei Nennleistung (Arbeitsdruck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dB(A)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Laufzeit bis zu NBP60 / NBP100 (Eco-Modus)</a:t>
                      </a:r>
                      <a:endParaRPr lang="en-U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min</a:t>
                      </a:r>
                      <a:endParaRPr lang="de-DE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(6 Ah)</a:t>
                      </a:r>
                      <a:b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(10 Ah)</a:t>
                      </a:r>
                      <a:b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s-ES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 (10 Ah Eco-Modus)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(6 Ah)</a:t>
                      </a:r>
                      <a:b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(10 Ah)</a:t>
                      </a:r>
                    </a:p>
                  </a:txBody>
                  <a:tcPr marL="6350" marR="6350" marT="6350" marB="0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Kapazität</a:t>
                      </a:r>
                      <a:endParaRPr lang="de-DE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463886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Behälter 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nststoff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nststoff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4179190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Maximal zulässige Betriebstemperatur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°C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4970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Gewicht (Maschine)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kg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Nur Maschine</a:t>
                      </a:r>
                      <a:endParaRPr lang="de-DE" sz="8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DK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44454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Abmessungen (LxBxH)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mm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7 x 378 x 48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>
                        <a:buNone/>
                      </a:pPr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7 x 378 x 485</a:t>
                      </a:r>
                    </a:p>
                  </a:txBody>
                  <a:tcPr marL="6350" marR="6350" marT="6350" marB="0" anchor="b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50646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Filtersystem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674017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taubklasse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M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5170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Filterreinigungssystem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PushClean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PushClean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746199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Filterpatrone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D185x140 PET M-Klass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de-DE" sz="1200" b="0" i="0" u="none" strike="noStrike" dirty="0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953710"/>
                  </a:ext>
                </a:extLst>
              </a:tr>
            </a:tbl>
          </a:graphicData>
        </a:graphic>
      </p:graphicFrame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AC1ECA9-81A3-A0F8-A396-0C1BAE357A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US" dirty="0"/>
              <a:t>AERO Battery</a:t>
            </a:r>
            <a:endParaRPr lang="da-DK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11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03414-D1B4-4530-3E41-8581EE44C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781DE3E-A3FD-4DF6-E64D-B0B500025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78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781DE3E-A3FD-4DF6-E64D-B0B500025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48DC875C-9896-AED1-A442-192D14E3F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echnische Dat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6BBDF-9444-B586-FD5C-162F741DF6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13</a:t>
            </a:fld>
            <a:endParaRPr lang="en-US"/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9699B0FC-3667-02FE-F538-FF2784706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504755"/>
              </p:ext>
            </p:extLst>
          </p:nvPr>
        </p:nvGraphicFramePr>
        <p:xfrm>
          <a:off x="479426" y="1412874"/>
          <a:ext cx="9329208" cy="29175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88647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1089891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1754909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1891819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1903942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</a:tblGrid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Merkmale 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Beschreibung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 Hinweis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0L PC BP36V EU-Version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W0M PCBP 36V EU-Version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1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Bluetooth-Fernbedienung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AutoSense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Automatische Start-Stopp-Funktion für Elektrowerkzeug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PushClean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Schwimmer als Flüssigkeitsstandauslös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chlauch-Einlassstopfen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Behälter-Hebegriff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Gummiband zur Kabelaufbewahrung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Rohrparkierung 2-Punkt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Kabellos</a:t>
                      </a:r>
                      <a:endParaRPr lang="de-DE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Silent-Modus – Boost-Modus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(Zwei Geschwindigkeitsstufen)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Schlauchhalter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Wheelie-Bar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u="none" strike="noStrike">
                          <a:effectLst/>
                          <a:latin typeface="+mn-lt"/>
                        </a:rPr>
                        <a:t>•</a:t>
                      </a: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taubbeutel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s-ES" sz="800" u="none" strike="noStrike">
                          <a:effectLst/>
                          <a:latin typeface="+mn-lt"/>
                        </a:rPr>
                        <a:t>1-P</a:t>
                      </a:r>
                      <a:endParaRPr lang="es-ES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1-P</a:t>
                      </a:r>
                      <a:endParaRPr lang="de-DE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</a:tbl>
          </a:graphicData>
        </a:graphic>
      </p:graphicFrame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FE8D03D-7D29-7828-E7A1-3081DB1C92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US" dirty="0"/>
              <a:t>AERO Battery</a:t>
            </a:r>
            <a:endParaRPr lang="da-DK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0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91ED4-1FD7-F0DF-1888-1EE6ED695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8DD0CA-745A-D36B-1CBF-9BC740DCA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8DD0CA-745A-D36B-1CBF-9BC740DCA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89686B-6B63-4E9A-1BBB-6C16C859F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ERO Battery</a:t>
            </a:r>
            <a:endParaRPr lang="da-DK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A3817F7-B078-C7B8-50B5-5BED35583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echnische Daten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54F5E3-88DF-B227-EA8C-C7F118DC58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F8AA7EC4-B40E-37C3-366E-DFE4E2D507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857554"/>
              </p:ext>
            </p:extLst>
          </p:nvPr>
        </p:nvGraphicFramePr>
        <p:xfrm>
          <a:off x="477473" y="1420658"/>
          <a:ext cx="8657062" cy="4383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0753">
                  <a:extLst>
                    <a:ext uri="{9D8B030D-6E8A-4147-A177-3AD203B41FA5}">
                      <a16:colId xmlns:a16="http://schemas.microsoft.com/office/drawing/2014/main" val="3275750068"/>
                    </a:ext>
                  </a:extLst>
                </a:gridCol>
                <a:gridCol w="1552575">
                  <a:extLst>
                    <a:ext uri="{9D8B030D-6E8A-4147-A177-3AD203B41FA5}">
                      <a16:colId xmlns:a16="http://schemas.microsoft.com/office/drawing/2014/main" val="836064217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414140013"/>
                    </a:ext>
                  </a:extLst>
                </a:gridCol>
                <a:gridCol w="2084917">
                  <a:extLst>
                    <a:ext uri="{9D8B030D-6E8A-4147-A177-3AD203B41FA5}">
                      <a16:colId xmlns:a16="http://schemas.microsoft.com/office/drawing/2014/main" val="3015747701"/>
                    </a:ext>
                  </a:extLst>
                </a:gridCol>
                <a:gridCol w="1903942">
                  <a:extLst>
                    <a:ext uri="{9D8B030D-6E8A-4147-A177-3AD203B41FA5}">
                      <a16:colId xmlns:a16="http://schemas.microsoft.com/office/drawing/2014/main" val="2081704966"/>
                    </a:ext>
                  </a:extLst>
                </a:gridCol>
              </a:tblGrid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Zubehör 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0L PC BP36V EU-Version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u="none" strike="noStrike" dirty="0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ERO 21B-W0M PCBP 36V EU-Version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2457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7419701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78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Verlängerungsrohre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9044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Verlängerungsrohr Stahl D35x505mm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30200077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95861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Rohrhalterungssatz Ø35 (Haken inkl. Schraube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07407190</a:t>
                      </a:r>
                      <a:endParaRPr lang="de-DE" sz="8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5020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augschläuche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4696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800" u="none" strike="noStrike">
                          <a:effectLst/>
                          <a:latin typeface="+mn-lt"/>
                        </a:rPr>
                        <a:t>Saugschlauch High End D32x3500 CPL gra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302002364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5609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Saugschlauch D32x1800 CPL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302002363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14013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de-DE" sz="800" u="none" strike="noStrike" kern="120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Bodendüsen </a:t>
                      </a:r>
                      <a:endParaRPr lang="de-DE" sz="800" u="none" strike="noStrike" kern="1200" dirty="0">
                        <a:solidFill>
                          <a:schemeClr val="dk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85363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pl-PL" sz="800" u="none" strike="noStrike">
                          <a:effectLst/>
                          <a:latin typeface="+mn-lt"/>
                        </a:rPr>
                        <a:t>Bodendüse D36 </a:t>
                      </a:r>
                      <a:r>
                        <a:rPr lang="en-US" sz="800" u="none" strike="noStrike">
                          <a:effectLst/>
                          <a:latin typeface="+mn-lt"/>
                        </a:rPr>
                        <a:t>W/D</a:t>
                      </a:r>
                      <a:endParaRPr lang="pl-PL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107402331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38766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de-DE" sz="800" u="none" strike="noStrike" kern="120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onstiges Zubehör</a:t>
                      </a:r>
                      <a:endParaRPr lang="de-DE" sz="800" u="none" strike="noStrike" kern="1200" dirty="0">
                        <a:solidFill>
                          <a:schemeClr val="dk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15629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Universal-Düse D36x11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429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011838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u="none" strike="noStrike" dirty="0">
                          <a:effectLst/>
                          <a:latin typeface="+mn-lt"/>
                        </a:rPr>
                        <a:t>Saugbürste D36 schwarz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302002509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2991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>
                          <a:effectLst/>
                        </a:rPr>
                        <a:t>Werkzeugadapter mit Gummimundstück</a:t>
                      </a:r>
                      <a:endParaRPr lang="en-US" sz="8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107410036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 dirty="0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361905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algn="l" defTabSz="1023967" rtl="0" eaLnBrk="1" fontAlgn="b" latinLnBrk="0" hangingPunct="1">
                        <a:buNone/>
                      </a:pPr>
                      <a:r>
                        <a:rPr lang="de-DE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Akku &amp; Ladegerät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811379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NBP60 36 V Li – 6 Ah AKK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10647902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90872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NBP100 36 V Li – 10 Ah AKK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6479021</a:t>
                      </a:r>
                      <a:endParaRPr lang="de-DE" sz="8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es-ES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5440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NBC215 36-V-Schnellladegerät – </a:t>
                      </a:r>
                      <a:r>
                        <a:rPr lang="en-US" sz="800" u="none" strike="noStrike" dirty="0" err="1">
                          <a:effectLst/>
                          <a:latin typeface="+mn-lt"/>
                        </a:rPr>
                        <a:t>ohne</a:t>
                      </a:r>
                      <a:r>
                        <a:rPr lang="en-US" sz="800" u="none" strike="noStrike" dirty="0">
                          <a:effectLst/>
                          <a:latin typeface="+mn-lt"/>
                        </a:rPr>
                        <a:t> Kabe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 dirty="0">
                          <a:effectLst/>
                        </a:rPr>
                        <a:t>10647605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463886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EU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2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1200" b="0" i="0" u="none" strike="noStrike">
                          <a:effectLst/>
                          <a:latin typeface="+mn-lt"/>
                        </a:rPr>
                        <a:t>•</a:t>
                      </a: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4179190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UK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3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497081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AU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4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44454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CN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506467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JP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6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6740172"/>
                  </a:ext>
                </a:extLst>
              </a:tr>
              <a:tr h="180035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  <a:latin typeface="+mn-lt"/>
                        </a:rPr>
                        <a:t>Ladekabel US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de-DE" sz="800" u="none" strike="noStrike">
                          <a:effectLst/>
                        </a:rPr>
                        <a:t>107424757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u="none" strike="noStrike">
                          <a:effectLst/>
                        </a:rPr>
                        <a:t>1 m Länge</a:t>
                      </a:r>
                      <a:endParaRPr lang="de-DE" sz="8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51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38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67DF9-BEC5-2F69-8BB9-794CA5299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52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76DDD-EABE-878A-8EE0-53A75AA3C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7D1BF2-3783-0866-7400-6996F229C4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44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7D1BF2-3783-0866-7400-6996F229C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F96E1-5AA6-0D2E-79C5-B6EC91B572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rster vollständig batteriebetriebener </a:t>
            </a:r>
            <a:r>
              <a:rPr lang="en-US" dirty="0" err="1"/>
              <a:t>LightIVac</a:t>
            </a:r>
            <a:endParaRPr lang="da-DK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7E0E44-CF33-E4F4-2467-7C38D9813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er neue AERO-Batte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69D84A-0D8F-2C31-0734-A782C4F589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7DAF08-F238-5E49-4E7F-08DFCE0CC6A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850" y="1424907"/>
            <a:ext cx="4444444" cy="44444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E7D645-2839-A063-9CC2-46DD512D611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21" y="1491925"/>
            <a:ext cx="4444444" cy="44444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47F8ED-DF1B-1939-0333-7160FF18176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2037" y="1501161"/>
            <a:ext cx="4444444" cy="444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78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a14="http://schemas.microsoft.com/office/drawing/2010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A96F0-8BDF-7A07-749E-A8C4673DF3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E876C-F1C0-3E6D-F791-19983BC1F6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E876C-F1C0-3E6D-F791-19983BC1F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67FB50-A039-444F-C56A-A5BB8AE48D3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E64CF9-6F78-E617-44A3-46651CFD18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1630" y="727186"/>
            <a:ext cx="7864216" cy="376456"/>
          </a:xfrm>
        </p:spPr>
        <p:txBody>
          <a:bodyPr/>
          <a:lstStyle/>
          <a:p>
            <a:r>
              <a:rPr lang="en-US" dirty="0" err="1"/>
              <a:t>Kabellose</a:t>
            </a:r>
            <a:r>
              <a:rPr lang="en-US" dirty="0"/>
              <a:t> Freiheit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00D66E0-F545-86D3-05B3-95DDE491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533" y="347799"/>
            <a:ext cx="10264775" cy="388013"/>
          </a:xfrm>
        </p:spPr>
        <p:txBody>
          <a:bodyPr vert="horz"/>
          <a:lstStyle/>
          <a:p>
            <a:r>
              <a:rPr lang="de-DE" dirty="0"/>
              <a:t>AERO </a:t>
            </a:r>
            <a:r>
              <a:rPr lang="de-DE" dirty="0" err="1"/>
              <a:t>Battery</a:t>
            </a:r>
            <a:endParaRPr lang="da-DK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9B250A1-950D-DBF9-5628-3933FC6BF4BE}"/>
              </a:ext>
            </a:extLst>
          </p:cNvPr>
          <p:cNvSpPr txBox="1">
            <a:spLocks/>
          </p:cNvSpPr>
          <p:nvPr/>
        </p:nvSpPr>
        <p:spPr>
          <a:xfrm>
            <a:off x="401630" y="1581874"/>
            <a:ext cx="3559175" cy="729585"/>
          </a:xfrm>
          <a:prstGeom prst="rect">
            <a:avLst/>
          </a:prstGeom>
        </p:spPr>
        <p:txBody>
          <a:bodyPr vert="horz" wrap="square" lIns="0" tIns="0" rIns="0" bIns="36000" numCol="2" spcCol="10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&amp;C </a:t>
            </a:r>
            <a:endParaRPr kumimoji="0" lang="en-DK" sz="120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ichtindustrie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200" dirty="0">
                <a:solidFill>
                  <a:srgbClr val="28313F"/>
                </a:solidFill>
                <a:latin typeface="+mn-lt"/>
                <a:cs typeface="+mn-cs"/>
              </a:rPr>
              <a:t>Automobilindustrie </a:t>
            </a:r>
            <a:endParaRPr lang="de-DE" sz="1200" dirty="0">
              <a:solidFill>
                <a:srgbClr val="28313F"/>
              </a:solidFill>
              <a:latin typeface="+mn-lt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28313F"/>
                </a:solidFill>
                <a:latin typeface="+mn-lt"/>
                <a:cs typeface="+mn-cs"/>
              </a:rPr>
              <a:t>Rüstungsindustrie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28313F"/>
                </a:solidFill>
                <a:latin typeface="+mn-lt"/>
                <a:cs typeface="+mn-cs"/>
              </a:rPr>
              <a:t>Allgemeine Reinigung</a:t>
            </a:r>
            <a:endParaRPr lang="en-GB" sz="1200" dirty="0">
              <a:solidFill>
                <a:srgbClr val="28313F"/>
              </a:solidFill>
              <a:latin typeface="+mn-lt"/>
            </a:endParaRPr>
          </a:p>
        </p:txBody>
      </p:sp>
      <p:pic>
        <p:nvPicPr>
          <p:cNvPr id="4" name="Picture 3" descr="A person vacuuming the floor&#10;&#10;AI-generated content may be incorrect.">
            <a:extLst>
              <a:ext uri="{FF2B5EF4-FFF2-40B4-BE49-F238E27FC236}">
                <a16:creationId xmlns:a16="http://schemas.microsoft.com/office/drawing/2014/main" id="{68445276-9050-1F78-A7AA-5BAFE3FE24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"/>
          <a:stretch>
            <a:fillRect/>
          </a:stretch>
        </p:blipFill>
        <p:spPr>
          <a:xfrm>
            <a:off x="8148638" y="0"/>
            <a:ext cx="4043362" cy="6273800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74A09E99-3C3E-D7E5-D669-EE01E428B5AB}"/>
              </a:ext>
            </a:extLst>
          </p:cNvPr>
          <p:cNvSpPr txBox="1">
            <a:spLocks/>
          </p:cNvSpPr>
          <p:nvPr/>
        </p:nvSpPr>
        <p:spPr>
          <a:xfrm>
            <a:off x="401630" y="2478349"/>
            <a:ext cx="7669213" cy="3837845"/>
          </a:xfrm>
          <a:prstGeom prst="rect">
            <a:avLst/>
          </a:prstGeom>
        </p:spPr>
        <p:txBody>
          <a:bodyPr vert="horz" wrap="square" lIns="0" tIns="0" rIns="0" bIns="9144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1023967">
              <a:spcBef>
                <a:spcPts val="400"/>
              </a:spcBef>
              <a:defRPr/>
            </a:pPr>
            <a:r>
              <a:rPr lang="en-DK" sz="1100" dirty="0">
                <a:solidFill>
                  <a:srgbClr val="28313F"/>
                </a:solidFill>
                <a:latin typeface="+mj-lt"/>
              </a:rPr>
              <a:t>Wichtige Anwendungsbereiche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Vielseitige Reinigung in verschiedenen Branchen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 err="1">
                <a:solidFill>
                  <a:srgbClr val="28313F"/>
                </a:solidFill>
                <a:latin typeface="+mn-lt"/>
              </a:rPr>
              <a:t>Basierend </a:t>
            </a:r>
            <a:r>
              <a:rPr lang="en-GB" sz="1100" dirty="0">
                <a:solidFill>
                  <a:srgbClr val="28313F"/>
                </a:solidFill>
                <a:latin typeface="+mn-lt"/>
              </a:rPr>
              <a:t>auf der bewährten AERO-Plattform, ideal für Reinigungsaufgaben in Industrie, Automobilbau und Bauwesen.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Mobiler und kabelloser Betrieb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>
                <a:solidFill>
                  <a:srgbClr val="28313F"/>
                </a:solidFill>
                <a:latin typeface="+mn-lt"/>
              </a:rPr>
              <a:t>Ausgestattet mit dem leistungsstarken Akku NBP60 für den Einsatz in Bereichen ohne Stromanschluss.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Intelligenter und ferngesteuerter Betrieb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>
                <a:solidFill>
                  <a:srgbClr val="28313F"/>
                </a:solidFill>
                <a:latin typeface="+mn-lt"/>
              </a:rPr>
              <a:t>Die AutoSense-Fernbedienung ermöglicht einen effizienten, benutzerfreundlichen Betrieb in komplexen oder gefährlichen Umgebungen.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Sichere Handhabung von gefährlichem Staub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>
                <a:solidFill>
                  <a:srgbClr val="28313F"/>
                </a:solidFill>
                <a:latin typeface="+mn-lt"/>
              </a:rPr>
              <a:t>Zertifiziert für Staub der Klassen </a:t>
            </a:r>
            <a:r>
              <a:rPr lang="en-DK" sz="1100" dirty="0">
                <a:solidFill>
                  <a:srgbClr val="28313F"/>
                </a:solidFill>
                <a:latin typeface="+mn-lt"/>
              </a:rPr>
              <a:t>L </a:t>
            </a:r>
            <a:r>
              <a:rPr lang="en-GB" sz="1100" dirty="0">
                <a:solidFill>
                  <a:srgbClr val="28313F"/>
                </a:solidFill>
                <a:latin typeface="+mn-lt"/>
              </a:rPr>
              <a:t>und M, geeignet für Anwendungen in Umgebungen mit strengen Gesundheits- und Sicherheitsvorschriften.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Effiziente Filterreinigung für den Dauereinsatz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>
                <a:solidFill>
                  <a:srgbClr val="28313F"/>
                </a:solidFill>
                <a:latin typeface="+mn-lt"/>
              </a:rPr>
              <a:t>Die </a:t>
            </a:r>
            <a:r>
              <a:rPr lang="en-GB" sz="1100" dirty="0" err="1">
                <a:solidFill>
                  <a:srgbClr val="28313F"/>
                </a:solidFill>
                <a:latin typeface="+mn-lt"/>
              </a:rPr>
              <a:t>Push&amp;</a:t>
            </a:r>
            <a:r>
              <a:rPr lang="en-GB" sz="1100" dirty="0">
                <a:solidFill>
                  <a:srgbClr val="28313F"/>
                </a:solidFill>
                <a:latin typeface="+mn-lt"/>
              </a:rPr>
              <a:t>Clean™-Technologie gewährleistet eine unterbrechungsfreie Leistung bei staubintensiven Aufgaben.</a:t>
            </a:r>
          </a:p>
          <a:p>
            <a:pPr marL="199105" lvl="0" indent="-199105" algn="l" defTabSz="1023967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Leise und leistungsstarke Saugleistung für sensible Umgebungen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r>
              <a:rPr lang="en-GB" sz="1100" dirty="0">
                <a:solidFill>
                  <a:srgbClr val="28313F"/>
                </a:solidFill>
                <a:latin typeface="+mn-lt"/>
              </a:rPr>
              <a:t>Die hocheffiziente Turbine mit niedrigem Geräuschpegel ist ideal für den Einsatz in geräuschsensiblen Bereichen wie Krankenhäusern, Schulen oder Büros. </a:t>
            </a:r>
            <a:br>
              <a:rPr lang="en-GB" sz="1100" dirty="0">
                <a:solidFill>
                  <a:srgbClr val="28313F"/>
                </a:solidFill>
                <a:latin typeface="+mn-lt"/>
              </a:rPr>
            </a:br>
            <a:endParaRPr lang="en-GB" sz="1100" dirty="0">
              <a:solidFill>
                <a:srgbClr val="28313F"/>
              </a:solidFill>
              <a:latin typeface="+mn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B5FDED9-1783-96C8-70FD-5C0B625F501F}"/>
              </a:ext>
            </a:extLst>
          </p:cNvPr>
          <p:cNvSpPr txBox="1">
            <a:spLocks/>
          </p:cNvSpPr>
          <p:nvPr/>
        </p:nvSpPr>
        <p:spPr>
          <a:xfrm>
            <a:off x="401630" y="1325424"/>
            <a:ext cx="3559175" cy="241023"/>
          </a:xfrm>
          <a:prstGeom prst="rect">
            <a:avLst/>
          </a:prstGeom>
        </p:spPr>
        <p:txBody>
          <a:bodyPr vert="horz" wrap="square" lIns="0" tIns="0" rIns="0" bIns="36000" numCol="2" spcCol="108000" rtlCol="0" anchor="t" anchorCtr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023967">
              <a:spcBef>
                <a:spcPts val="400"/>
              </a:spcBef>
              <a:defRPr/>
            </a:pPr>
            <a:r>
              <a:rPr lang="en-DK" sz="1200" dirty="0">
                <a:solidFill>
                  <a:srgbClr val="28313F"/>
                </a:solidFill>
                <a:latin typeface="+mj-lt"/>
              </a:rPr>
              <a:t>Segmente</a:t>
            </a:r>
          </a:p>
        </p:txBody>
      </p:sp>
    </p:spTree>
    <p:extLst>
      <p:ext uri="{BB962C8B-B14F-4D97-AF65-F5344CB8AC3E}">
        <p14:creationId xmlns:p14="http://schemas.microsoft.com/office/powerpoint/2010/main" val="377414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a14="http://schemas.microsoft.com/office/drawing/2010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5" y="0"/>
            <a:ext cx="5991224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0684BC-5F19-7305-C844-4EF2A836FBF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5009" y="1310720"/>
            <a:ext cx="3809524" cy="3809524"/>
          </a:xfrm>
          <a:prstGeom prst="rect">
            <a:avLst/>
          </a:prstGeom>
        </p:spPr>
      </p:pic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63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7821" y="1668143"/>
            <a:ext cx="5616576" cy="4860925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GB" sz="1100" dirty="0">
                <a:latin typeface="+mj-lt"/>
                <a:ea typeface="Roboto Medium" panose="02000000000000000000" pitchFamily="2" charset="0"/>
                <a:cs typeface="Roboto Light"/>
              </a:rPr>
              <a:t>Unterbrechungsfreie Hochleistungsreinigung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Kein Stecker, einfach loslegen: Das kabellose Design sorgt für einen nahtlosen Betrieb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Überlegene Saugkraft für maximale Effizienz sowohl bei nassen als auch bei trockenen Bedingungen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Das </a:t>
            </a:r>
            <a:r>
              <a:rPr lang="en-GB" sz="1100" dirty="0" err="1">
                <a:solidFill>
                  <a:srgbClr val="28313F"/>
                </a:solidFill>
              </a:rPr>
              <a:t>Push&amp;</a:t>
            </a:r>
            <a:r>
              <a:rPr lang="en-GB" sz="1100" dirty="0">
                <a:solidFill>
                  <a:srgbClr val="28313F"/>
                </a:solidFill>
              </a:rPr>
              <a:t>Clean™</a:t>
            </a:r>
            <a:r>
              <a:rPr lang="en-GB" sz="1100" dirty="0">
                <a:ea typeface="Roboto Light"/>
                <a:cs typeface="Roboto Light"/>
              </a:rPr>
              <a:t>-Filtersystem sorgt für Spitzenleistung bei minimalen Ausfallzeiten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GB" sz="1100" dirty="0">
                <a:latin typeface="+mj-lt"/>
                <a:ea typeface="Roboto Light"/>
                <a:cs typeface="Roboto Light"/>
              </a:rPr>
              <a:t>Leicht, benutzerfreundlich und intelligent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Nur 8,3 kg für mühelose Handhabung und geringen Kraftaufwand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Geringe Geräuschemissionen für störungsfreies Reinigen tagsüber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Bluetooth-Fernbedienung optional (M-Klasse, mit </a:t>
            </a:r>
            <a:r>
              <a:rPr lang="en-GB" sz="1100" dirty="0" err="1">
                <a:ea typeface="Roboto Light"/>
                <a:cs typeface="Roboto Light"/>
              </a:rPr>
              <a:t>AutoSense </a:t>
            </a:r>
            <a:r>
              <a:rPr lang="en-GB" sz="1100" dirty="0">
                <a:ea typeface="Roboto Light"/>
                <a:cs typeface="Roboto Light"/>
              </a:rPr>
              <a:t>für mehr Sicherheit und Effizienz)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GB" sz="1100" dirty="0">
                <a:latin typeface="+mj-lt"/>
                <a:ea typeface="Roboto Light"/>
                <a:cs typeface="Roboto Light"/>
              </a:rPr>
              <a:t>Unübertroffene Haltbarkeit </a:t>
            </a:r>
            <a:r>
              <a:rPr lang="en-DK" sz="1100" dirty="0">
                <a:latin typeface="+mj-lt"/>
                <a:ea typeface="Roboto Light"/>
                <a:cs typeface="Roboto Light"/>
              </a:rPr>
              <a:t>und </a:t>
            </a:r>
            <a:r>
              <a:rPr lang="en-GB" sz="1100" dirty="0">
                <a:latin typeface="+mj-lt"/>
                <a:ea typeface="Roboto Light"/>
                <a:cs typeface="Roboto Light"/>
              </a:rPr>
              <a:t>Ausdauer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Klassenbester Akku: über 500 Ladezyklen mit branchenführender Laufzeit</a:t>
            </a:r>
            <a:endParaRPr lang="en-DK" sz="110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Robuste Turbine hält starker Beanspruchung stand und erfordert nur minimale Wartung</a:t>
            </a:r>
            <a:endParaRPr lang="en-DK" sz="110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Bewährte Zuverlässigkeit durch strenge Feld- und Labortests</a:t>
            </a:r>
            <a:endParaRPr lang="en-DK" sz="1100" dirty="0">
              <a:ea typeface="Roboto Light"/>
              <a:cs typeface="Roboto Light"/>
            </a:endParaRP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GB" sz="1100" dirty="0">
                <a:latin typeface="+mj-lt"/>
                <a:ea typeface="Roboto Light"/>
                <a:cs typeface="Roboto Light"/>
              </a:rPr>
              <a:t>Sicherere und sauberere Arbeitsumgebung</a:t>
            </a: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Zertifiziert nach den höchsten Sicherheitsstandards gegen gefährlichen Staub</a:t>
            </a:r>
            <a:endParaRPr lang="en-DK" sz="110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Effizienter PET-Filter und Luftstromdesign </a:t>
            </a:r>
            <a:r>
              <a:rPr lang="en-GB" sz="1100" dirty="0" err="1">
                <a:ea typeface="Roboto Light"/>
                <a:cs typeface="Roboto Light"/>
              </a:rPr>
              <a:t>reduzieren</a:t>
            </a:r>
            <a:r>
              <a:rPr lang="en-GB" sz="1100" dirty="0">
                <a:ea typeface="Roboto Light"/>
                <a:cs typeface="Roboto Light"/>
              </a:rPr>
              <a:t> </a:t>
            </a:r>
            <a:r>
              <a:rPr lang="en-GB" sz="1100" dirty="0" err="1">
                <a:ea typeface="Roboto Light"/>
                <a:cs typeface="Roboto Light"/>
              </a:rPr>
              <a:t>Partikel</a:t>
            </a:r>
            <a:r>
              <a:rPr lang="en-GB" sz="1100" dirty="0">
                <a:ea typeface="Roboto Light"/>
                <a:cs typeface="Roboto Light"/>
              </a:rPr>
              <a:t> in der Luft</a:t>
            </a:r>
            <a:endParaRPr lang="en-DK" sz="1100" dirty="0">
              <a:ea typeface="Roboto Light"/>
              <a:cs typeface="Roboto Light"/>
            </a:endParaRPr>
          </a:p>
          <a:p>
            <a:pPr marL="201168" indent="-201168">
              <a:lnSpc>
                <a:spcPct val="120000"/>
              </a:lnSpc>
              <a:spcBef>
                <a:spcPts val="400"/>
              </a:spcBef>
            </a:pPr>
            <a:r>
              <a:rPr lang="en-GB" sz="1100" dirty="0">
                <a:ea typeface="Roboto Light"/>
                <a:cs typeface="Roboto Light"/>
              </a:rPr>
              <a:t>Kabelloser Betrieb verhindert Stolperfallen und verbessert die Mobilität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821" y="873955"/>
            <a:ext cx="7864216" cy="37645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 err="1">
                <a:ea typeface="Roboto Light"/>
              </a:rPr>
              <a:t>Alleinstellungsmerkmale</a:t>
            </a:r>
            <a:endParaRPr lang="en-US" sz="160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725" y="494568"/>
            <a:ext cx="7862850" cy="388013"/>
          </a:xfrm>
        </p:spPr>
        <p:txBody>
          <a:bodyPr vert="horz"/>
          <a:lstStyle/>
          <a:p>
            <a:r>
              <a:rPr lang="en-US" dirty="0"/>
              <a:t>Highlights des AERO-Akkus</a:t>
            </a:r>
            <a:endParaRPr lang="da-DK" dirty="0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89931" y="4226834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4" y="450755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ea typeface="Poppins"/>
                <a:cs typeface="Poppins"/>
                <a:sym typeface="Poppins"/>
              </a:rPr>
              <a:t>392 </a:t>
            </a:r>
            <a:r>
              <a:rPr lang="de-DE" sz="1200" dirty="0">
                <a:ea typeface="Poppins"/>
                <a:cs typeface="Poppins"/>
                <a:sym typeface="Poppins"/>
              </a:rPr>
              <a:t>mm</a:t>
            </a:r>
            <a:endParaRPr sz="1200" dirty="0">
              <a:ea typeface="Poppins"/>
              <a:cs typeface="Poppins"/>
              <a:sym typeface="Poppins"/>
            </a:endParaRP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7" y="4507318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ea typeface="Poppins"/>
                <a:cs typeface="Poppins"/>
                <a:sym typeface="Poppins"/>
              </a:rPr>
              <a:t>375 mm</a:t>
            </a:r>
            <a:endParaRPr sz="1200" dirty="0">
              <a:ea typeface="Poppins"/>
              <a:cs typeface="Poppins"/>
              <a:sym typeface="Poppins"/>
            </a:endParaRP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562084" y="2769213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ea typeface="Poppins"/>
                <a:cs typeface="Poppins"/>
                <a:sym typeface="Poppins"/>
              </a:rPr>
              <a:t>5</a:t>
            </a:r>
            <a:r>
              <a:rPr lang="en-GB" sz="1200">
                <a:ea typeface="Poppins"/>
                <a:cs typeface="Poppins"/>
                <a:sym typeface="Poppins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372734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 xmlns:v="urn:schemas-microsoft-com:vml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BE886-3AA9-984A-8257-BBF439B21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Spielzeug, Vakuum, Gerät enthält.&#10;&#10;KI-generierte Inhalte können fehlerhaft sein.">
            <a:extLst>
              <a:ext uri="{FF2B5EF4-FFF2-40B4-BE49-F238E27FC236}">
                <a16:creationId xmlns:a16="http://schemas.microsoft.com/office/drawing/2014/main" id="{8A8FE201-434F-6456-E068-8C6EB3B9A0C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859" y="1402315"/>
            <a:ext cx="4680316" cy="4680316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25525-48D5-8274-1BFC-C5468C5B7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25525-48D5-8274-1BFC-C5468C5B7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DBA1003-CE58-102A-0B79-2B6AB8794B63}"/>
              </a:ext>
            </a:extLst>
          </p:cNvPr>
          <p:cNvSpPr txBox="1"/>
          <p:nvPr/>
        </p:nvSpPr>
        <p:spPr>
          <a:xfrm>
            <a:off x="6477656" y="5220276"/>
            <a:ext cx="522987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da-DK" sz="1100">
                <a:latin typeface="+mj-lt"/>
              </a:rPr>
              <a:t>Leichte kabellose Freiheit und geringer Platzbedarf</a:t>
            </a:r>
          </a:p>
          <a:p>
            <a:pPr algn="r">
              <a:lnSpc>
                <a:spcPct val="120000"/>
              </a:lnSpc>
            </a:pPr>
            <a:r>
              <a:rPr lang="en-US" sz="1100"/>
              <a:t>Reinigen Sie ohne Einschränkungen – schneller, mobiler Einsatz, wenn dringend hohe Saugkraft benötigt wird</a:t>
            </a:r>
            <a:endParaRPr lang="en-GB" sz="11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94A70F-5576-DB93-9229-9126168EAE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5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DB3158-F4D1-2AAC-5A8A-53D6E9D4D3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AERO</a:t>
            </a:r>
            <a:r>
              <a:rPr lang="de-DE" dirty="0"/>
              <a:t> </a:t>
            </a:r>
            <a:r>
              <a:rPr lang="de-DE" dirty="0" err="1"/>
              <a:t>Battery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716B101-570D-3E81-4973-136BBA2D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K" dirty="0"/>
              <a:t>Wichtigste Merkmale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215AB1-8EB5-64CC-1958-6E537A2FFFAB}"/>
              </a:ext>
            </a:extLst>
          </p:cNvPr>
          <p:cNvSpPr txBox="1"/>
          <p:nvPr/>
        </p:nvSpPr>
        <p:spPr>
          <a:xfrm>
            <a:off x="6475089" y="1511905"/>
            <a:ext cx="5212114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Geschütztes Batteriefach</a:t>
            </a:r>
            <a:br>
              <a:rPr lang="en-GB" sz="1100">
                <a:latin typeface="+mj-lt"/>
              </a:rPr>
            </a:br>
            <a:r>
              <a:rPr lang="en-US" sz="1050"/>
              <a:t>Batterie vor Staub und anderen Einflüssen geschützt – einfacher Batteriewechsel</a:t>
            </a:r>
            <a:endParaRPr lang="en-GB" sz="10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3EF17A-9996-61C0-4B92-C655135F2B83}"/>
              </a:ext>
            </a:extLst>
          </p:cNvPr>
          <p:cNvSpPr txBox="1"/>
          <p:nvPr/>
        </p:nvSpPr>
        <p:spPr>
          <a:xfrm>
            <a:off x="361589" y="1354319"/>
            <a:ext cx="4286611" cy="869716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Neuer, von Nilfisk entwickelter NBP-Akku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Hohe Leistung und Effizienz mit dem von Nilfisk selbst entwickelten Akku – bis zu 500 Ladezyklen möglich</a:t>
            </a:r>
          </a:p>
          <a:p>
            <a:pPr algn="l">
              <a:lnSpc>
                <a:spcPct val="120000"/>
              </a:lnSpc>
            </a:pPr>
            <a:endParaRPr lang="en-GB" sz="11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A3AA2D-7677-1B95-C5DC-04A43AB35A6D}"/>
              </a:ext>
            </a:extLst>
          </p:cNvPr>
          <p:cNvSpPr txBox="1"/>
          <p:nvPr/>
        </p:nvSpPr>
        <p:spPr>
          <a:xfrm>
            <a:off x="7454206" y="3466204"/>
            <a:ext cx="4253320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de-DE" sz="1100" err="1">
                <a:latin typeface="+mj-lt"/>
              </a:rPr>
              <a:t>Waschbares </a:t>
            </a:r>
            <a:r>
              <a:rPr lang="de-DE" sz="1100">
                <a:latin typeface="+mj-lt"/>
              </a:rPr>
              <a:t>PET</a:t>
            </a:r>
            <a:r>
              <a:rPr lang="de-DE" sz="1100" err="1">
                <a:latin typeface="+mj-lt"/>
              </a:rPr>
              <a:t>-Filterelement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da-DK" sz="1100"/>
              <a:t>Hochwertige Filterung, lange Lebensdauer, strapazierfähig und für Nass-/Trockenanwendungen geeignet</a:t>
            </a:r>
            <a:endParaRPr lang="en-GB" sz="11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2F75969-C502-EAAE-8EBB-113770E85202}"/>
              </a:ext>
            </a:extLst>
          </p:cNvPr>
          <p:cNvSpPr txBox="1"/>
          <p:nvPr/>
        </p:nvSpPr>
        <p:spPr>
          <a:xfrm>
            <a:off x="8016592" y="2621949"/>
            <a:ext cx="3690934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Batterie – Batteriemanagementsystem (BMS)</a:t>
            </a:r>
          </a:p>
          <a:p>
            <a:pPr algn="r">
              <a:lnSpc>
                <a:spcPct val="120000"/>
              </a:lnSpc>
            </a:pPr>
            <a:r>
              <a:rPr lang="en-GB" sz="1050"/>
              <a:t>Schutzsystem für Batterien, das Spannungen, Temperaturen usw. überwach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82A76C-EF29-A549-FB79-C04297108DC1}"/>
              </a:ext>
            </a:extLst>
          </p:cNvPr>
          <p:cNvSpPr txBox="1"/>
          <p:nvPr/>
        </p:nvSpPr>
        <p:spPr>
          <a:xfrm>
            <a:off x="378896" y="2541187"/>
            <a:ext cx="4373726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e-DE" sz="1100">
                <a:latin typeface="+mj-lt"/>
              </a:rPr>
              <a:t>Professionelle, </a:t>
            </a:r>
            <a:r>
              <a:rPr lang="de-DE" sz="1100" err="1">
                <a:latin typeface="+mj-lt"/>
              </a:rPr>
              <a:t>hocheffiziente Turbine</a:t>
            </a:r>
            <a:endParaRPr lang="en-DK" sz="110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da-DK" sz="1100"/>
              <a:t>Mit einem Luftdurchsatz von 3600 l/min beste Leistung seiner Klasse</a:t>
            </a:r>
            <a:endParaRPr lang="en-GB" sz="11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C2CE5A-783D-AD9F-2AE4-2BB038DA4A59}"/>
              </a:ext>
            </a:extLst>
          </p:cNvPr>
          <p:cNvSpPr txBox="1"/>
          <p:nvPr/>
        </p:nvSpPr>
        <p:spPr>
          <a:xfrm>
            <a:off x="7454205" y="4235998"/>
            <a:ext cx="4253320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da-DK" sz="1100" dirty="0">
                <a:latin typeface="+mj-lt"/>
              </a:rPr>
              <a:t>MultiFit-Ansaugstutzen</a:t>
            </a:r>
          </a:p>
          <a:p>
            <a:pPr algn="r">
              <a:lnSpc>
                <a:spcPct val="120000"/>
              </a:lnSpc>
            </a:pPr>
            <a:r>
              <a:rPr lang="de-DE" sz="1100" dirty="0"/>
              <a:t>Eine große Auswahl an Saugschläuchen und Zubehör aus dem Nilfisk-Zubehörprogramm kann für den AERO </a:t>
            </a:r>
            <a:r>
              <a:rPr lang="de-DE" sz="1100" dirty="0" err="1"/>
              <a:t>Battery</a:t>
            </a:r>
            <a:r>
              <a:rPr lang="de-DE" sz="1100" dirty="0"/>
              <a:t> verwendet werden</a:t>
            </a:r>
            <a:endParaRPr lang="en-GB" sz="1100" dirty="0"/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06D90BB0-6F29-8571-95A2-E8B3A0975FE8}"/>
              </a:ext>
            </a:extLst>
          </p:cNvPr>
          <p:cNvCxnSpPr>
            <a:cxnSpLocks/>
          </p:cNvCxnSpPr>
          <p:nvPr/>
        </p:nvCxnSpPr>
        <p:spPr>
          <a:xfrm flipH="1">
            <a:off x="7363835" y="3063043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35D02DF-F2E0-7D05-A09A-09D0CD28E305}"/>
              </a:ext>
            </a:extLst>
          </p:cNvPr>
          <p:cNvCxnSpPr>
            <a:cxnSpLocks/>
          </p:cNvCxnSpPr>
          <p:nvPr/>
        </p:nvCxnSpPr>
        <p:spPr>
          <a:xfrm>
            <a:off x="375466" y="3028362"/>
            <a:ext cx="367436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89994707-09E7-22F9-B085-33EF5AA34AE8}"/>
              </a:ext>
            </a:extLst>
          </p:cNvPr>
          <p:cNvCxnSpPr>
            <a:cxnSpLocks/>
          </p:cNvCxnSpPr>
          <p:nvPr/>
        </p:nvCxnSpPr>
        <p:spPr>
          <a:xfrm flipH="1">
            <a:off x="6809173" y="5866043"/>
            <a:ext cx="489835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3E0BE21-1696-F33D-C780-73F618571ED6}"/>
              </a:ext>
            </a:extLst>
          </p:cNvPr>
          <p:cNvCxnSpPr>
            <a:cxnSpLocks/>
          </p:cNvCxnSpPr>
          <p:nvPr/>
        </p:nvCxnSpPr>
        <p:spPr>
          <a:xfrm flipH="1">
            <a:off x="5458691" y="1975356"/>
            <a:ext cx="62488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ABD38D7-938A-ADD6-0F28-DFAF9A766C54}"/>
              </a:ext>
            </a:extLst>
          </p:cNvPr>
          <p:cNvCxnSpPr>
            <a:cxnSpLocks/>
          </p:cNvCxnSpPr>
          <p:nvPr/>
        </p:nvCxnSpPr>
        <p:spPr>
          <a:xfrm>
            <a:off x="361589" y="2049547"/>
            <a:ext cx="381979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6498DD1-8076-6B8B-283C-71514CB428A6}"/>
              </a:ext>
            </a:extLst>
          </p:cNvPr>
          <p:cNvSpPr txBox="1"/>
          <p:nvPr/>
        </p:nvSpPr>
        <p:spPr>
          <a:xfrm>
            <a:off x="397967" y="3536428"/>
            <a:ext cx="323994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err="1">
                <a:latin typeface="+mj-lt"/>
              </a:rPr>
              <a:t>Hervorgehobene </a:t>
            </a:r>
            <a:r>
              <a:rPr lang="en-GB" sz="1100">
                <a:latin typeface="+mj-lt"/>
              </a:rPr>
              <a:t>Touchpoints</a:t>
            </a:r>
          </a:p>
          <a:p>
            <a:pPr>
              <a:lnSpc>
                <a:spcPct val="120000"/>
              </a:lnSpc>
            </a:pPr>
            <a:r>
              <a:rPr lang="da-DK" sz="1100"/>
              <a:t>Intuitive Benutzeroberfläche </a:t>
            </a:r>
            <a:r>
              <a:rPr lang="da-DK" sz="1100" err="1"/>
              <a:t>sorgt für </a:t>
            </a:r>
            <a:r>
              <a:rPr lang="da-DK" sz="1100"/>
              <a:t>eine </a:t>
            </a:r>
            <a:r>
              <a:rPr lang="da-DK" sz="1100" err="1"/>
              <a:t>nahtlose </a:t>
            </a:r>
            <a:r>
              <a:rPr lang="da-DK" sz="1100"/>
              <a:t>Bedienung</a:t>
            </a:r>
            <a:endParaRPr lang="en-US" sz="110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C66CAA1-76AD-06F1-A721-8A15226A32A9}"/>
              </a:ext>
            </a:extLst>
          </p:cNvPr>
          <p:cNvCxnSpPr>
            <a:cxnSpLocks/>
          </p:cNvCxnSpPr>
          <p:nvPr/>
        </p:nvCxnSpPr>
        <p:spPr>
          <a:xfrm>
            <a:off x="375466" y="3999879"/>
            <a:ext cx="3353155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F4E3A445-67D5-E91E-35FB-7EF4EE38B98F}"/>
              </a:ext>
            </a:extLst>
          </p:cNvPr>
          <p:cNvSpPr txBox="1"/>
          <p:nvPr/>
        </p:nvSpPr>
        <p:spPr>
          <a:xfrm>
            <a:off x="397967" y="4476497"/>
            <a:ext cx="425023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>
                <a:latin typeface="+mj-lt"/>
              </a:rPr>
              <a:t>Sehr leise, angenehmes Betriebsgeräusch</a:t>
            </a:r>
          </a:p>
          <a:p>
            <a:pPr>
              <a:lnSpc>
                <a:spcPct val="120000"/>
              </a:lnSpc>
            </a:pPr>
            <a:r>
              <a:rPr lang="en-US" sz="1100"/>
              <a:t>Ermöglicht die Reinigung in geräuschsensiblen Bereichen und die Reinigung tagsüber</a:t>
            </a:r>
            <a:endParaRPr lang="en-GB" sz="110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AACEE0A-DFAE-A535-AE24-AFFF42A8A611}"/>
              </a:ext>
            </a:extLst>
          </p:cNvPr>
          <p:cNvCxnSpPr>
            <a:cxnSpLocks/>
          </p:cNvCxnSpPr>
          <p:nvPr/>
        </p:nvCxnSpPr>
        <p:spPr>
          <a:xfrm>
            <a:off x="370017" y="4939948"/>
            <a:ext cx="381136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3F80280-ABA9-B49B-4607-BF8C93E7275C}"/>
              </a:ext>
            </a:extLst>
          </p:cNvPr>
          <p:cNvSpPr txBox="1"/>
          <p:nvPr/>
        </p:nvSpPr>
        <p:spPr>
          <a:xfrm>
            <a:off x="397967" y="5423409"/>
            <a:ext cx="6079688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1100">
                <a:latin typeface="+mj-lt"/>
              </a:rPr>
              <a:t>Schnellladefunktion und Hot-Swap für kontinuierlichen, unterbrechungsfreien Einsatz</a:t>
            </a:r>
            <a:br>
              <a:rPr lang="da-DK" sz="1100"/>
            </a:br>
            <a:r>
              <a:rPr lang="da-DK" sz="1100"/>
              <a:t>Vollständige Aufladung in nur 60 Minuten*</a:t>
            </a:r>
            <a:endParaRPr lang="en-US" sz="1100"/>
          </a:p>
        </p:txBody>
      </p: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00F17FD6-8BD2-2C4D-292D-C7638405BD28}"/>
              </a:ext>
            </a:extLst>
          </p:cNvPr>
          <p:cNvCxnSpPr>
            <a:cxnSpLocks/>
          </p:cNvCxnSpPr>
          <p:nvPr/>
        </p:nvCxnSpPr>
        <p:spPr>
          <a:xfrm flipH="1">
            <a:off x="7454205" y="3900819"/>
            <a:ext cx="4253320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8BE8AC8-E3F1-C2CF-9F7F-897595E60CA2}"/>
              </a:ext>
            </a:extLst>
          </p:cNvPr>
          <p:cNvCxnSpPr>
            <a:cxnSpLocks/>
          </p:cNvCxnSpPr>
          <p:nvPr/>
        </p:nvCxnSpPr>
        <p:spPr>
          <a:xfrm>
            <a:off x="378896" y="5886860"/>
            <a:ext cx="524720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A1D5747D-5B5E-8EF7-DD5D-7084F633B60B}"/>
              </a:ext>
            </a:extLst>
          </p:cNvPr>
          <p:cNvCxnSpPr>
            <a:cxnSpLocks/>
          </p:cNvCxnSpPr>
          <p:nvPr/>
        </p:nvCxnSpPr>
        <p:spPr>
          <a:xfrm flipH="1">
            <a:off x="7454205" y="4939948"/>
            <a:ext cx="425332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0291F2-4760-11C2-128F-C7B9457952FC}"/>
              </a:ext>
            </a:extLst>
          </p:cNvPr>
          <p:cNvSpPr txBox="1"/>
          <p:nvPr/>
        </p:nvSpPr>
        <p:spPr>
          <a:xfrm>
            <a:off x="847208" y="6467886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* Ca. 90 %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Akkukapazitä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5730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 xmlns:v="urn:schemas-microsoft-com:vml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152A8-28C9-1D24-1E99-78A465AA5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70C47A5-2EFB-39C7-0B2C-D083BE89D905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 </a:t>
            </a:r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D04B7D-392D-7787-B6ED-87449D29F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D04B7D-392D-7787-B6ED-87449D29FF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1ADDA9-7566-60CC-3568-484A5E164A2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6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CB1562-DA46-1952-9E05-30DC58ED284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2400"/>
            <a:ext cx="5507038" cy="4851399"/>
          </a:xfrm>
          <a:noFill/>
        </p:spPr>
        <p:txBody>
          <a:bodyPr lIns="0" tIns="0" rIns="0" bIns="91440"/>
          <a:lstStyle/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Einstiegsmodell für die batteriebetriebene Grundreinigung von gefährlichem Staub</a:t>
            </a:r>
          </a:p>
          <a:p>
            <a:pPr marL="199104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Einfach zu bedienen dank übersichtlicher Benutzeroberfläche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Außergewöhnlich lange Laufzeit: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Mit NBP60 25 min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Mit NBP100 40 min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Mit NBP100 65 min (Eco-Modus)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 err="1">
                <a:latin typeface="+mj-lt"/>
              </a:rPr>
              <a:t>Einstieg-Sicherheitssauger</a:t>
            </a:r>
            <a:r>
              <a:rPr lang="en-US" dirty="0">
                <a:latin typeface="+mj-lt"/>
              </a:rPr>
              <a:t> der L-Klasse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Entwickelt und zertifiziert für die Aufnahme von gefährlichen Stäuben gemäß Staubklasse L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Nass und trocken </a:t>
            </a:r>
          </a:p>
          <a:p>
            <a:pPr marL="201168" lvl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Ausgestattet mit einem Schwimmer – für die zuverlässige Aufnahme vieler Arten von Flüssigkeiten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4867A1D-DF5E-D2ED-AA4B-1D986EB95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473" y="954699"/>
            <a:ext cx="11235102" cy="376456"/>
          </a:xfrm>
        </p:spPr>
        <p:txBody>
          <a:bodyPr/>
          <a:lstStyle/>
          <a:p>
            <a:r>
              <a:rPr lang="en-US" b="1" dirty="0"/>
              <a:t>AERO 21B-0L PC  </a:t>
            </a:r>
            <a:endParaRPr lang="da-DK" b="1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548B6FD-A68B-65E2-7AB9-206E4D1F0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ERO </a:t>
            </a:r>
            <a:r>
              <a:rPr lang="de-DE" dirty="0" err="1"/>
              <a:t>Battery</a:t>
            </a:r>
            <a:r>
              <a:rPr lang="de-DE" dirty="0"/>
              <a:t> Funktionen</a:t>
            </a:r>
            <a:endParaRPr lang="da-DK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B28DAE1-BEC2-C2C4-A6A7-B549F9CBBED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624" y="1610670"/>
            <a:ext cx="3809524" cy="3809524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91D9F37-90E2-7D6C-AEB3-DA5E24EBD4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77223" y="1412875"/>
            <a:ext cx="542925" cy="5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68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a14="http://schemas.microsoft.com/office/drawing/2010/main" xmlns:asvg="http://schemas.microsoft.com/office/drawing/2016/SVG/main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33283-6DE7-C016-47A8-F20E2C907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4FD337B-6C78-A906-24A6-C9863DB46F19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 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8DA85A-68C4-F512-EEE4-2415B8368E2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0624" y="1610670"/>
            <a:ext cx="3809448" cy="380952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E2409D-A8B1-A1B5-563F-E573D61E50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11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E2409D-A8B1-A1B5-563F-E573D61E5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8EB515-1295-9BAC-2DC2-9C9E83443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7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D23B56-5E98-8BEF-D6BF-1B223C997EC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2400"/>
            <a:ext cx="5507038" cy="4851399"/>
          </a:xfrm>
          <a:noFill/>
        </p:spPr>
        <p:txBody>
          <a:bodyPr lIns="0" tIns="0" rIns="0" bIns="91440"/>
          <a:lstStyle/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Entwickelt und konstruiert für schwierige Reinigungsaufgaben mit gefährlichen Stäuben</a:t>
            </a:r>
          </a:p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dirty="0"/>
              <a:t>Für 2 verschiedene Schlauchdurchmesser ausgelegt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Vollwertiger Sicherheitsstaubsauger der Klasse M</a:t>
            </a:r>
          </a:p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dirty="0"/>
              <a:t>Entwickelt zum Auffangen von gefährlichen Stäuben der Staubklasse M. </a:t>
            </a:r>
          </a:p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dirty="0"/>
              <a:t>Er ist in der Lage, Staub wie Beton-, Holz- oder Farbstäuben, die bei Handwerks- und </a:t>
            </a:r>
            <a:r>
              <a:rPr lang="en-US" dirty="0" err="1"/>
              <a:t>Bauarbeiten</a:t>
            </a:r>
            <a:r>
              <a:rPr lang="en-US" dirty="0"/>
              <a:t> </a:t>
            </a:r>
            <a:r>
              <a:rPr lang="en-US" dirty="0" err="1"/>
              <a:t>entstehen</a:t>
            </a:r>
            <a:r>
              <a:rPr lang="en-US" dirty="0"/>
              <a:t> </a:t>
            </a:r>
            <a:r>
              <a:rPr lang="en-US" dirty="0" err="1"/>
              <a:t>aufzufangen</a:t>
            </a:r>
            <a:r>
              <a:rPr lang="en-US" dirty="0"/>
              <a:t>. </a:t>
            </a:r>
          </a:p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dirty="0" err="1"/>
              <a:t>Diese</a:t>
            </a:r>
            <a:r>
              <a:rPr lang="en-US" dirty="0"/>
              <a:t> Stäube werden sicher im Filterbeutel abgeschieden und können somit einfach entsorgt werden</a:t>
            </a:r>
          </a:p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US" dirty="0">
                <a:latin typeface="+mj-lt"/>
              </a:rPr>
              <a:t>Nass und trocken </a:t>
            </a:r>
          </a:p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dirty="0"/>
              <a:t>Ausgestattet mit einem Schwimmer – für die zuverlässige Aufnahme vieler Arten von Flüssigkeiten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730A73-E730-F025-B78D-AB844D1CF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948" y="947089"/>
            <a:ext cx="11235102" cy="376456"/>
          </a:xfrm>
        </p:spPr>
        <p:txBody>
          <a:bodyPr/>
          <a:lstStyle/>
          <a:p>
            <a:r>
              <a:rPr lang="en-US" b="1" dirty="0"/>
              <a:t>AERO 21B-W0M PC  </a:t>
            </a:r>
            <a:endParaRPr lang="da-DK" b="1" dirty="0">
              <a:solidFill>
                <a:schemeClr val="tx2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A31C39B-3856-E33A-6B29-587B4507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ERO </a:t>
            </a:r>
            <a:r>
              <a:rPr lang="de-DE" dirty="0" err="1"/>
              <a:t>Battery</a:t>
            </a:r>
            <a:r>
              <a:rPr lang="de-DE" dirty="0"/>
              <a:t> Funktionen</a:t>
            </a:r>
            <a:endParaRPr lang="da-DK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F4BB036-2C86-9B82-2EA3-52DCC42677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77147" y="1412875"/>
            <a:ext cx="542925" cy="5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a14="http://schemas.microsoft.com/office/drawing/2010/main" xmlns:v="urn:schemas-microsoft-com:vml" xmlns:asvg="http://schemas.microsoft.com/office/drawing/2016/SVG/main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62E0BD-96F4-5FAE-F664-46C838422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A50F2BD-017E-5E53-C58E-1FC28AAA7F67}"/>
              </a:ext>
            </a:extLst>
          </p:cNvPr>
          <p:cNvSpPr txBox="1">
            <a:spLocks/>
          </p:cNvSpPr>
          <p:nvPr/>
        </p:nvSpPr>
        <p:spPr>
          <a:xfrm>
            <a:off x="7471611" y="0"/>
            <a:ext cx="4720389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 </a:t>
            </a:r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8FCE48-3FD0-4227-E0E1-D8D5E62E5E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8FCE48-3FD0-4227-E0E1-D8D5E62E5E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E6EB80-E077-B4F8-85F8-9EB9E9DDC8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t>8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9FB2945-D0F5-6AFB-CE48-367E3165791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5520" y="1412876"/>
            <a:ext cx="6710371" cy="4707564"/>
          </a:xfrm>
          <a:noFill/>
        </p:spPr>
        <p:txBody>
          <a:bodyPr lIns="0" tIns="0" rIns="0" bIns="91440"/>
          <a:lstStyle/>
          <a:p>
            <a:pPr marL="0" indent="0">
              <a:lnSpc>
                <a:spcPct val="120000"/>
              </a:lnSpc>
              <a:spcBef>
                <a:spcPts val="400"/>
              </a:spcBef>
              <a:buNone/>
            </a:pPr>
            <a:r>
              <a:rPr lang="en-GB" dirty="0">
                <a:latin typeface="+mj-lt"/>
              </a:rPr>
              <a:t>Fernbedienung 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Einfache und bequeme Fernbedienung des Staubsaugers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Ermöglicht dank der intelligenten </a:t>
            </a:r>
            <a:r>
              <a:rPr lang="en-US" dirty="0" err="1"/>
              <a:t>Auto</a:t>
            </a:r>
            <a:r>
              <a:rPr lang="en-US" dirty="0"/>
              <a:t>Sense-Funktion das automatische Ein- und Ausschalten in Verbindung mit kabellosen Werkzeugen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Basierend auf Bluetooth-Kommunikation, zuverlässiges und einfaches Koppeln 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Flexibles Design ermöglicht einfache Befestigung an Schlauch, Handrohr oder Elektrowerkzeug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Robust und langlebig, um den Umgebungsbedingungen und der rauen Behandlung auf Baustellen standzuhalten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LED-Anzeigen geben visuelle Warnungen aus, wenn der Luftstrom unzureichend ist, </a:t>
            </a:r>
            <a:br>
              <a:rPr lang="en-US" dirty="0"/>
            </a:br>
            <a:r>
              <a:rPr lang="en-US" dirty="0"/>
              <a:t>und Aufmerksamkeit erforderlich ist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AutoSense-Modus, der die Aktivierung von Elektrowerkzeugen automatisch erkennt</a:t>
            </a:r>
          </a:p>
          <a:p>
            <a:pPr marL="201168" lvl="1" indent="-201168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dirty="0"/>
              <a:t>Verfügbar für AERO-Battery M-Klasse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ACE82A-4DE2-2B87-8AFD-5AABA695AF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2000" b="1" dirty="0" err="1"/>
              <a:t>Auto</a:t>
            </a:r>
            <a:r>
              <a:rPr lang="en-US" sz="2000" dirty="0" err="1"/>
              <a:t>Sense</a:t>
            </a:r>
            <a:endParaRPr lang="da-DK" sz="20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25AE014-77C3-5616-675E-A0D70022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ERO </a:t>
            </a:r>
            <a:r>
              <a:rPr lang="de-DE" dirty="0" err="1"/>
              <a:t>Battery</a:t>
            </a:r>
            <a:r>
              <a:rPr lang="de-DE" dirty="0"/>
              <a:t> Funktionen</a:t>
            </a:r>
            <a:endParaRPr lang="da-DK" dirty="0"/>
          </a:p>
        </p:txBody>
      </p:sp>
      <p:pic>
        <p:nvPicPr>
          <p:cNvPr id="9" name="Picture 31">
            <a:extLst>
              <a:ext uri="{FF2B5EF4-FFF2-40B4-BE49-F238E27FC236}">
                <a16:creationId xmlns:a16="http://schemas.microsoft.com/office/drawing/2014/main" id="{7C97B6DA-CAC1-293D-5197-5E5060ABB1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976" b="100000" l="690" r="100000">
                        <a14:foregroundMark x1="35172" y1="75889" x2="18030" y2="87352"/>
                        <a14:foregroundMark x1="18030" y1="87352" x2="34975" y2="90415"/>
                        <a14:foregroundMark x1="34975" y1="90415" x2="62365" y2="88834"/>
                        <a14:foregroundMark x1="62365" y1="88834" x2="67783" y2="84783"/>
                        <a14:foregroundMark x1="88966" y1="61957" x2="91823" y2="29545"/>
                        <a14:foregroundMark x1="91823" y1="29545" x2="76650" y2="32905"/>
                        <a14:foregroundMark x1="34286" y1="36759" x2="34286" y2="49407"/>
                        <a14:foregroundMark x1="96749" y1="10968" x2="92217" y2="24605"/>
                        <a14:foregroundMark x1="92217" y1="24605" x2="92118" y2="27372"/>
                        <a14:foregroundMark x1="94089" y1="5929" x2="97635" y2="52866"/>
                        <a14:foregroundMark x1="97635" y1="52866" x2="38621" y2="98419"/>
                        <a14:foregroundMark x1="38621" y1="98419" x2="6108" y2="99506"/>
                        <a14:foregroundMark x1="6108" y1="99506" x2="18325" y2="93281"/>
                        <a14:foregroundMark x1="18325" y1="93281" x2="18522" y2="93281"/>
                        <a14:foregroundMark x1="53892" y1="95455" x2="16256" y2="98221"/>
                        <a14:foregroundMark x1="16256" y1="98221" x2="21872" y2="86858"/>
                        <a14:foregroundMark x1="21872" y1="86858" x2="22759" y2="86265"/>
                        <a14:foregroundMark x1="5222" y1="95356" x2="6995" y2="98913"/>
                        <a14:foregroundMark x1="690" y1="98814" x2="4729" y2="99308"/>
                        <a14:foregroundMark x1="31724" y1="72134" x2="31724" y2="72134"/>
                        <a14:foregroundMark x1="27586" y1="75988" x2="27586" y2="75988"/>
                        <a14:foregroundMark x1="11429" y1="89822" x2="11429" y2="89822"/>
                        <a14:foregroundMark x1="91626" y1="5336" x2="99901" y2="10870"/>
                        <a14:foregroundMark x1="99901" y1="47036" x2="98818" y2="53854"/>
                        <a14:foregroundMark x1="98818" y1="53953" x2="97931" y2="55435"/>
                        <a14:foregroundMark x1="89557" y1="8399" x2="99901" y2="44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5700" y="1575761"/>
            <a:ext cx="4726300" cy="4707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A46689-7102-C77C-831A-C427F33681A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7231" y="1376993"/>
            <a:ext cx="1127762" cy="21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72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 xmlns:v="urn:schemas-microsoft-com:vml" xmlns:a14="http://schemas.microsoft.com/office/drawing/2010/main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5001E23-D0E7-5A9A-50A7-E45946331C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68" y="2436926"/>
            <a:ext cx="4734981" cy="2889740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977438"/>
            <a:ext cx="11235102" cy="376456"/>
          </a:xfrm>
        </p:spPr>
        <p:txBody>
          <a:bodyPr/>
          <a:lstStyle/>
          <a:p>
            <a:r>
              <a:rPr lang="en-GB" noProof="0" dirty="0"/>
              <a:t>NBP-Serie | </a:t>
            </a:r>
            <a:r>
              <a:rPr lang="en-GB" noProof="0" dirty="0" err="1"/>
              <a:t>Skalierbare</a:t>
            </a:r>
            <a:r>
              <a:rPr lang="en-GB" noProof="0" dirty="0"/>
              <a:t> </a:t>
            </a:r>
            <a:r>
              <a:rPr lang="en-GB" noProof="0" dirty="0" err="1"/>
              <a:t>Batterieleistung</a:t>
            </a:r>
            <a:r>
              <a:rPr lang="en-GB" noProof="0" dirty="0"/>
              <a:t> in </a:t>
            </a:r>
            <a:r>
              <a:rPr lang="en-GB" noProof="0" dirty="0" err="1"/>
              <a:t>kompaktem</a:t>
            </a:r>
            <a:r>
              <a:rPr lang="en-GB" noProof="0" dirty="0"/>
              <a:t> Forma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 lang="en-GB" noProof="0" smtClean="0"/>
              <a:t>9</a:t>
            </a:fld>
            <a:endParaRPr lang="en-GB" noProof="0"/>
          </a:p>
        </p:txBody>
      </p:sp>
      <p:sp>
        <p:nvSpPr>
          <p:cNvPr id="7" name="TextBox 6"/>
          <p:cNvSpPr txBox="1"/>
          <p:nvPr/>
        </p:nvSpPr>
        <p:spPr>
          <a:xfrm>
            <a:off x="2852618" y="2179840"/>
            <a:ext cx="929527" cy="272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600" noProof="0">
                <a:latin typeface="Roboto Medium" panose="02000000000000000000" pitchFamily="2" charset="0"/>
                <a:ea typeface="Roboto Medium" panose="02000000000000000000" pitchFamily="2" charset="0"/>
              </a:rPr>
              <a:t>Combat 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8123383" y="2179840"/>
            <a:ext cx="1875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600" noProof="0">
                <a:latin typeface="Roboto Medium" panose="02000000000000000000" pitchFamily="2" charset="0"/>
                <a:ea typeface="Roboto Medium" panose="02000000000000000000" pitchFamily="2" charset="0"/>
              </a:rPr>
              <a:t>NBP-Serie</a:t>
            </a:r>
          </a:p>
          <a:p>
            <a:pPr marL="0" marR="0" lvl="0" indent="0" algn="l" defTabSz="102396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Roboto Medium" panose="02000000000000000000" pitchFamily="2" charset="0"/>
              </a:rPr>
              <a:t>NBP60</a:t>
            </a:r>
          </a:p>
          <a:p>
            <a:pPr>
              <a:defRPr/>
            </a:pPr>
            <a:r>
              <a:rPr lang="en-GB" sz="1600" noProof="0">
                <a:ea typeface="Roboto Medium" panose="02000000000000000000" pitchFamily="2" charset="0"/>
              </a:rPr>
              <a:t>NBP100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noProof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4260460" y="2310966"/>
            <a:ext cx="3657600" cy="0"/>
          </a:xfrm>
          <a:prstGeom prst="line">
            <a:avLst/>
          </a:prstGeom>
          <a:ln w="158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81C68196-A052-3C6D-2B71-4B15BD4F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ue </a:t>
            </a:r>
            <a:r>
              <a:rPr lang="en-GB" dirty="0" err="1"/>
              <a:t>Batterieplattform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38B41CB-11E3-FCC7-7BDF-8002444068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6252" y="2969233"/>
            <a:ext cx="2508190" cy="20198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9A617E-817F-6AD7-EC33-3D31764059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7318" y="2969232"/>
            <a:ext cx="2508190" cy="201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67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 xmlns:a16="http://schemas.microsoft.com/office/drawing/2014/main" xmlns:a14="http://schemas.microsoft.com/office/drawing/2010/main" xmlns:v="urn:schemas-microsoft-com:vml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32B75B72E9AD4B897284067DA3336A" ma:contentTypeVersion="14" ma:contentTypeDescription="Create a new document." ma:contentTypeScope="" ma:versionID="6492b7c3e85f5c14b0d1f8f0eca4bce4">
  <xsd:schema xmlns:xsd="http://www.w3.org/2001/XMLSchema" xmlns:xs="http://www.w3.org/2001/XMLSchema" xmlns:p="http://schemas.microsoft.com/office/2006/metadata/properties" xmlns:ns2="101d09d1-2fba-4d93-a45c-1211151ee786" xmlns:ns3="9a261087-ddb5-4fc3-ae00-ca27a6304815" targetNamespace="http://schemas.microsoft.com/office/2006/metadata/properties" ma:root="true" ma:fieldsID="235f7f4da562ffff761aabfec7130868" ns2:_="" ns3:_="">
    <xsd:import namespace="101d09d1-2fba-4d93-a45c-1211151ee786"/>
    <xsd:import namespace="9a261087-ddb5-4fc3-ae00-ca27a6304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LengthInSeconds" minOccurs="0"/>
                <xsd:element ref="ns2:MediaServiceBillingMetadata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d09d1-2fba-4d93-a45c-1211151ee7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61087-ddb5-4fc3-ae00-ca27a630481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0acf073-156a-45c2-8748-f00f6b029fee}" ma:internalName="TaxCatchAll" ma:showField="CatchAllData" ma:web="9a261087-ddb5-4fc3-ae00-ca27a6304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261087-ddb5-4fc3-ae00-ca27a6304815" xsi:nil="true"/>
    <lcf76f155ced4ddcb4097134ff3c332f xmlns="101d09d1-2fba-4d93-a45c-1211151ee78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EBDB56-F869-4218-8D02-24438FE349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1d09d1-2fba-4d93-a45c-1211151ee786"/>
    <ds:schemaRef ds:uri="9a261087-ddb5-4fc3-ae00-ca27a63048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101d09d1-2fba-4d93-a45c-1211151ee786"/>
    <ds:schemaRef ds:uri="9a261087-ddb5-4fc3-ae00-ca27a6304815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 07-03-2022</Template>
  <TotalTime>0</TotalTime>
  <Words>1508</Words>
  <Application>Microsoft Office PowerPoint</Application>
  <PresentationFormat>Breitbild</PresentationFormat>
  <Paragraphs>441</Paragraphs>
  <Slides>15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6" baseType="lpstr">
      <vt:lpstr>Arial</vt:lpstr>
      <vt:lpstr>Calibri</vt:lpstr>
      <vt:lpstr>Courier New</vt:lpstr>
      <vt:lpstr>Poppins</vt:lpstr>
      <vt:lpstr>Roboto</vt:lpstr>
      <vt:lpstr>Roboto Black</vt:lpstr>
      <vt:lpstr>Roboto Bold</vt:lpstr>
      <vt:lpstr>Roboto Light</vt:lpstr>
      <vt:lpstr>Roboto Medium</vt:lpstr>
      <vt:lpstr>Nilfisk Toolbox_Standard_4-3</vt:lpstr>
      <vt:lpstr>think-cell Slide</vt:lpstr>
      <vt:lpstr>Kabelloser Nass-Trockensauger Nilfisk AERO BATTERY</vt:lpstr>
      <vt:lpstr>Der neue AERO-Battery</vt:lpstr>
      <vt:lpstr>AERO Battery</vt:lpstr>
      <vt:lpstr>Highlights des AERO-Akkus</vt:lpstr>
      <vt:lpstr>Wichtigste Merkmale</vt:lpstr>
      <vt:lpstr>AERO Battery Funktionen</vt:lpstr>
      <vt:lpstr>AERO Battery Funktionen</vt:lpstr>
      <vt:lpstr>AERO Battery Funktionen</vt:lpstr>
      <vt:lpstr>Neue Batterieplattform</vt:lpstr>
      <vt:lpstr>Neue Batterieplattform</vt:lpstr>
      <vt:lpstr>Neue Batterieplattform</vt:lpstr>
      <vt:lpstr>Technische Daten</vt:lpstr>
      <vt:lpstr>Technische Daten</vt:lpstr>
      <vt:lpstr>Technische Daten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Esben Graff</dc:creator>
  <cp:keywords>, docId:2CBD0C9457541C263688F074D2D7940E</cp:keywords>
  <cp:lastModifiedBy>Selina Missel</cp:lastModifiedBy>
  <cp:revision>61</cp:revision>
  <dcterms:created xsi:type="dcterms:W3CDTF">2022-03-29T11:25:32Z</dcterms:created>
  <dcterms:modified xsi:type="dcterms:W3CDTF">2026-01-15T14:3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4A32B75B72E9AD4B897284067DA3336A</vt:lpwstr>
  </property>
  <property fmtid="{D5CDD505-2E9C-101B-9397-08002B2CF9AE}" pid="6" name="MSIP_Label_c1c1fc1b-71f6-4e55-b88d-a4d9044b10bf_Enabled">
    <vt:lpwstr>true</vt:lpwstr>
  </property>
  <property fmtid="{D5CDD505-2E9C-101B-9397-08002B2CF9AE}" pid="7" name="MSIP_Label_c1c1fc1b-71f6-4e55-b88d-a4d9044b10bf_SetDate">
    <vt:lpwstr>2022-03-29T11:34:17Z</vt:lpwstr>
  </property>
  <property fmtid="{D5CDD505-2E9C-101B-9397-08002B2CF9AE}" pid="8" name="MSIP_Label_c1c1fc1b-71f6-4e55-b88d-a4d9044b10bf_Method">
    <vt:lpwstr>Privileged</vt:lpwstr>
  </property>
  <property fmtid="{D5CDD505-2E9C-101B-9397-08002B2CF9AE}" pid="9" name="MSIP_Label_c1c1fc1b-71f6-4e55-b88d-a4d9044b10bf_Name">
    <vt:lpwstr>Nilfisk secret</vt:lpwstr>
  </property>
  <property fmtid="{D5CDD505-2E9C-101B-9397-08002B2CF9AE}" pid="10" name="MSIP_Label_c1c1fc1b-71f6-4e55-b88d-a4d9044b10bf_SiteId">
    <vt:lpwstr>753c5d99-05be-4237-b4c5-fdb2e6b32ab2</vt:lpwstr>
  </property>
  <property fmtid="{D5CDD505-2E9C-101B-9397-08002B2CF9AE}" pid="11" name="MSIP_Label_c1c1fc1b-71f6-4e55-b88d-a4d9044b10bf_ActionId">
    <vt:lpwstr>5172cd7c-cf70-427c-9652-15fc36e67b62</vt:lpwstr>
  </property>
  <property fmtid="{D5CDD505-2E9C-101B-9397-08002B2CF9AE}" pid="12" name="MSIP_Label_c1c1fc1b-71f6-4e55-b88d-a4d9044b10bf_ContentBits">
    <vt:lpwstr>2</vt:lpwstr>
  </property>
  <property fmtid="{D5CDD505-2E9C-101B-9397-08002B2CF9AE}" pid="13" name="MediaServiceImageTags">
    <vt:lpwstr/>
  </property>
</Properties>
</file>